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  <p:sldMasterId id="2147483686" r:id="rId5"/>
    <p:sldMasterId id="2147483693" r:id="rId6"/>
  </p:sldMasterIdLst>
  <p:notesMasterIdLst>
    <p:notesMasterId r:id="rId45"/>
  </p:notesMasterIdLst>
  <p:handoutMasterIdLst>
    <p:handoutMasterId r:id="rId46"/>
  </p:handoutMasterIdLst>
  <p:sldIdLst>
    <p:sldId id="294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  <p:sldId id="282" r:id="rId33"/>
    <p:sldId id="283" r:id="rId34"/>
    <p:sldId id="284" r:id="rId35"/>
    <p:sldId id="285" r:id="rId36"/>
    <p:sldId id="286" r:id="rId37"/>
    <p:sldId id="287" r:id="rId38"/>
    <p:sldId id="288" r:id="rId39"/>
    <p:sldId id="289" r:id="rId40"/>
    <p:sldId id="290" r:id="rId41"/>
    <p:sldId id="291" r:id="rId42"/>
    <p:sldId id="292" r:id="rId43"/>
    <p:sldId id="293" r:id="rId44"/>
  </p:sldIdLst>
  <p:sldSz cx="9144000" cy="6858000" type="screen4x3"/>
  <p:notesSz cx="7315200" cy="9601200"/>
  <p:embeddedFontLst>
    <p:embeddedFont>
      <p:font typeface="Verdana" panose="020B0604030504040204" pitchFamily="34" charset="0"/>
      <p:regular r:id="rId47"/>
      <p:bold r:id="rId48"/>
      <p:italic r:id="rId49"/>
      <p:boldItalic r:id="rId50"/>
    </p:embeddedFont>
    <p:embeddedFont>
      <p:font typeface="Candara" panose="020E0502030303020204" pitchFamily="34" charset="0"/>
      <p:regular r:id="rId51"/>
      <p:bold r:id="rId52"/>
      <p:italic r:id="rId53"/>
      <p:boldItalic r:id="rId54"/>
    </p:embeddedFont>
    <p:embeddedFont>
      <p:font typeface="Consolas" panose="020B0609020204030204" pitchFamily="49" charset="0"/>
      <p:regular r:id="rId55"/>
      <p:bold r:id="rId56"/>
      <p:italic r:id="rId57"/>
      <p:boldItalic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12">
          <p15:clr>
            <a:srgbClr val="A4A3A4"/>
          </p15:clr>
        </p15:guide>
        <p15:guide id="2" pos="129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 varScale="1">
        <p:scale>
          <a:sx n="64" d="100"/>
          <a:sy n="64" d="100"/>
        </p:scale>
        <p:origin x="1530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1944" y="-90"/>
      </p:cViewPr>
      <p:guideLst>
        <p:guide orient="horz" pos="2812"/>
        <p:guide pos="129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font" Target="fonts/font1.fntdata"/><Relationship Id="rId50" Type="http://schemas.openxmlformats.org/officeDocument/2006/relationships/font" Target="fonts/font4.fntdata"/><Relationship Id="rId55" Type="http://schemas.openxmlformats.org/officeDocument/2006/relationships/font" Target="fonts/font9.fntdata"/><Relationship Id="rId63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font" Target="fonts/font8.fntdata"/><Relationship Id="rId62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7.fntdata"/><Relationship Id="rId58" Type="http://schemas.openxmlformats.org/officeDocument/2006/relationships/font" Target="fonts/font12.fntdata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font" Target="fonts/font3.fntdata"/><Relationship Id="rId57" Type="http://schemas.openxmlformats.org/officeDocument/2006/relationships/font" Target="fonts/font11.fntdata"/><Relationship Id="rId61" Type="http://schemas.openxmlformats.org/officeDocument/2006/relationships/font" Target="fonts/font15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font" Target="fonts/font6.fntdata"/><Relationship Id="rId60" Type="http://schemas.openxmlformats.org/officeDocument/2006/relationships/font" Target="fonts/font14.fntdata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font" Target="fonts/font2.fntdata"/><Relationship Id="rId56" Type="http://schemas.openxmlformats.org/officeDocument/2006/relationships/font" Target="fonts/font10.fntdata"/><Relationship Id="rId64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font" Target="fonts/font5.fntdata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handoutMaster" Target="handoutMasters/handoutMaster1.xml"/><Relationship Id="rId59" Type="http://schemas.openxmlformats.org/officeDocument/2006/relationships/font" Target="fonts/font13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2234B2-54C8-4F63-B5CA-00D08C501384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C556FE-4701-4718-802C-F53603277804}">
      <dgm:prSet phldrT="[Text]"/>
      <dgm:spPr/>
      <dgm:t>
        <a:bodyPr/>
        <a:lstStyle/>
        <a:p>
          <a:r>
            <a:rPr lang="en-US" dirty="0" smtClean="0">
              <a:latin typeface="Candara" pitchFamily="34" charset="0"/>
            </a:rPr>
            <a:t>Features of Python</a:t>
          </a:r>
          <a:endParaRPr lang="en-US" dirty="0">
            <a:latin typeface="Candara" pitchFamily="34" charset="0"/>
          </a:endParaRPr>
        </a:p>
      </dgm:t>
    </dgm:pt>
    <dgm:pt modelId="{D3D8E548-40AB-4CAD-87DD-65C16776C678}" type="parTrans" cxnId="{16429857-D459-46C2-BD5D-D75A85DFA08F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D321057D-CA04-4E7F-AEFD-EAFC0FB90D09}" type="sibTrans" cxnId="{16429857-D459-46C2-BD5D-D75A85DFA08F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A49C634C-D790-451B-9A7C-D2E9AFCE27B0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Installing Python &amp; Online Documentation</a:t>
          </a:r>
          <a:endParaRPr lang="en-US" dirty="0">
            <a:latin typeface="+mj-lt"/>
          </a:endParaRPr>
        </a:p>
      </dgm:t>
    </dgm:pt>
    <dgm:pt modelId="{B60A5B94-2957-4E37-AF2C-004344859A49}" type="parTrans" cxnId="{700B9015-867D-47DD-B9DA-C1E07B3EE29C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2731EE09-7863-46E7-847F-FEE1027F2A1E}" type="sibTrans" cxnId="{700B9015-867D-47DD-B9DA-C1E07B3EE29C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5469B9A6-7610-46FA-A2F0-3653CB2FD288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Running Python</a:t>
          </a:r>
          <a:endParaRPr lang="en-US" dirty="0">
            <a:latin typeface="+mj-lt"/>
          </a:endParaRPr>
        </a:p>
      </dgm:t>
    </dgm:pt>
    <dgm:pt modelId="{F2DC8463-B6C1-46CD-AF26-AE059056D5B7}" type="parTrans" cxnId="{EFC43026-FF7B-45A4-9731-561689DA4BAA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6172013F-EC0F-4375-8D75-A4465D7356EC}" type="sibTrans" cxnId="{EFC43026-FF7B-45A4-9731-561689DA4BAA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43F42412-F416-439A-9FAE-202095CB6CEC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Using interpreter/cli</a:t>
          </a:r>
          <a:endParaRPr lang="en-US" dirty="0">
            <a:latin typeface="+mj-lt"/>
          </a:endParaRPr>
        </a:p>
      </dgm:t>
    </dgm:pt>
    <dgm:pt modelId="{1C47621D-4D83-4C9B-840F-98F600A7620B}" type="parTrans" cxnId="{83503186-84AF-404E-8F26-86A40D461D8B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F6DBAF03-9B0F-4850-833D-91653182B64C}" type="sibTrans" cxnId="{83503186-84AF-404E-8F26-86A40D461D8B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9609C5CB-C932-4EE8-9934-DD0B8D97EDBD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Setting up IDE</a:t>
          </a:r>
          <a:endParaRPr lang="en-US" dirty="0">
            <a:latin typeface="+mj-lt"/>
          </a:endParaRPr>
        </a:p>
      </dgm:t>
    </dgm:pt>
    <dgm:pt modelId="{91B11B5A-C0EC-4764-8CB2-BA705230AC87}" type="parTrans" cxnId="{DC23BE7D-AB7E-41EA-B0A2-9BF13EFC4503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15159626-AF90-4A28-8659-C5076435F1F3}" type="sibTrans" cxnId="{DC23BE7D-AB7E-41EA-B0A2-9BF13EFC4503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345597BD-56D2-47C1-9D06-47DD9059918F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What is Python</a:t>
          </a:r>
          <a:endParaRPr lang="en-US" dirty="0">
            <a:latin typeface="+mj-lt"/>
          </a:endParaRPr>
        </a:p>
      </dgm:t>
    </dgm:pt>
    <dgm:pt modelId="{E0508A6E-41C2-43CE-B7F5-B39BF2B06123}" type="parTrans" cxnId="{D8DA2145-2770-479F-BE5D-C4B98875B1CF}">
      <dgm:prSet/>
      <dgm:spPr/>
      <dgm:t>
        <a:bodyPr/>
        <a:lstStyle/>
        <a:p>
          <a:endParaRPr lang="en-US"/>
        </a:p>
      </dgm:t>
    </dgm:pt>
    <dgm:pt modelId="{71372D02-FA88-42A6-95B4-27B52ABC8592}" type="sibTrans" cxnId="{D8DA2145-2770-479F-BE5D-C4B98875B1CF}">
      <dgm:prSet/>
      <dgm:spPr/>
      <dgm:t>
        <a:bodyPr/>
        <a:lstStyle/>
        <a:p>
          <a:endParaRPr lang="en-US"/>
        </a:p>
      </dgm:t>
    </dgm:pt>
    <dgm:pt modelId="{F8B481D7-D9B5-4827-8A5E-B8968760449B}">
      <dgm:prSet phldrT="[Text]"/>
      <dgm:spPr/>
      <dgm:t>
        <a:bodyPr/>
        <a:lstStyle/>
        <a:p>
          <a:r>
            <a:rPr lang="en-US" dirty="0" smtClean="0">
              <a:latin typeface="+mj-lt"/>
            </a:rPr>
            <a:t>History</a:t>
          </a:r>
          <a:endParaRPr lang="en-US" dirty="0">
            <a:latin typeface="+mj-lt"/>
          </a:endParaRPr>
        </a:p>
      </dgm:t>
    </dgm:pt>
    <dgm:pt modelId="{056773B0-0FFA-4036-8095-B0C903366F0E}" type="sibTrans" cxnId="{5E976C90-9BD9-4781-8994-C49B96165D08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ED8DE795-0FD2-482D-BABF-F155F53CDAAD}" type="parTrans" cxnId="{5E976C90-9BD9-4781-8994-C49B96165D08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CADEEF77-AD9E-41BC-A753-0F44ED121787}" type="pres">
      <dgm:prSet presAssocID="{582234B2-54C8-4F63-B5CA-00D08C50138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E54EB3D-D565-42D1-A6FB-5B33ADD96196}" type="pres">
      <dgm:prSet presAssocID="{345597BD-56D2-47C1-9D06-47DD9059918F}" presName="parentLin" presStyleCnt="0"/>
      <dgm:spPr/>
    </dgm:pt>
    <dgm:pt modelId="{00AC0D73-03C0-4172-9842-30F6BDC68012}" type="pres">
      <dgm:prSet presAssocID="{345597BD-56D2-47C1-9D06-47DD9059918F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7CF564E5-F1C6-4A2B-98BB-1A34F409D8E7}" type="pres">
      <dgm:prSet presAssocID="{345597BD-56D2-47C1-9D06-47DD9059918F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516BE7-5A08-4453-8AAA-85C1EBC16FF1}" type="pres">
      <dgm:prSet presAssocID="{345597BD-56D2-47C1-9D06-47DD9059918F}" presName="negativeSpace" presStyleCnt="0"/>
      <dgm:spPr/>
    </dgm:pt>
    <dgm:pt modelId="{4D9B9452-A243-4F50-BF83-8A531EBA497A}" type="pres">
      <dgm:prSet presAssocID="{345597BD-56D2-47C1-9D06-47DD9059918F}" presName="childText" presStyleLbl="conFgAcc1" presStyleIdx="0" presStyleCnt="5">
        <dgm:presLayoutVars>
          <dgm:bulletEnabled val="1"/>
        </dgm:presLayoutVars>
      </dgm:prSet>
      <dgm:spPr/>
    </dgm:pt>
    <dgm:pt modelId="{6EBDEC38-7059-4BD2-A07B-9B33D155F415}" type="pres">
      <dgm:prSet presAssocID="{71372D02-FA88-42A6-95B4-27B52ABC8592}" presName="spaceBetweenRectangles" presStyleCnt="0"/>
      <dgm:spPr/>
    </dgm:pt>
    <dgm:pt modelId="{8FBA05C1-FC9A-4C76-8FBC-16D3FC39F956}" type="pres">
      <dgm:prSet presAssocID="{F8B481D7-D9B5-4827-8A5E-B8968760449B}" presName="parentLin" presStyleCnt="0"/>
      <dgm:spPr/>
    </dgm:pt>
    <dgm:pt modelId="{00BCB51A-82F1-4718-82AA-49008656E47D}" type="pres">
      <dgm:prSet presAssocID="{F8B481D7-D9B5-4827-8A5E-B8968760449B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95845D3F-ACAA-4948-B9D3-DD7BB9A01E35}" type="pres">
      <dgm:prSet presAssocID="{F8B481D7-D9B5-4827-8A5E-B8968760449B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7DA614-CE89-4C4B-A5B5-352CEC6E34DB}" type="pres">
      <dgm:prSet presAssocID="{F8B481D7-D9B5-4827-8A5E-B8968760449B}" presName="negativeSpace" presStyleCnt="0"/>
      <dgm:spPr/>
    </dgm:pt>
    <dgm:pt modelId="{CE547230-CED0-40BA-A9D6-AD5E2168BC93}" type="pres">
      <dgm:prSet presAssocID="{F8B481D7-D9B5-4827-8A5E-B8968760449B}" presName="childText" presStyleLbl="conFgAcc1" presStyleIdx="1" presStyleCnt="5">
        <dgm:presLayoutVars>
          <dgm:bulletEnabled val="1"/>
        </dgm:presLayoutVars>
      </dgm:prSet>
      <dgm:spPr/>
    </dgm:pt>
    <dgm:pt modelId="{DE8ADD4A-E63D-45F5-B8FB-253834C0747D}" type="pres">
      <dgm:prSet presAssocID="{056773B0-0FFA-4036-8095-B0C903366F0E}" presName="spaceBetweenRectangles" presStyleCnt="0"/>
      <dgm:spPr/>
    </dgm:pt>
    <dgm:pt modelId="{B02448AB-4A66-4240-AA1B-C3497787F416}" type="pres">
      <dgm:prSet presAssocID="{16C556FE-4701-4718-802C-F53603277804}" presName="parentLin" presStyleCnt="0"/>
      <dgm:spPr/>
    </dgm:pt>
    <dgm:pt modelId="{37FBBAFB-A888-44E2-86BE-B7BBC7C50401}" type="pres">
      <dgm:prSet presAssocID="{16C556FE-4701-4718-802C-F5360327780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B57D9B78-A13F-486F-B39E-5FB3E6ECD633}" type="pres">
      <dgm:prSet presAssocID="{16C556FE-4701-4718-802C-F5360327780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BF4928-8826-4B05-8E75-2F3121C2E9D3}" type="pres">
      <dgm:prSet presAssocID="{16C556FE-4701-4718-802C-F53603277804}" presName="negativeSpace" presStyleCnt="0"/>
      <dgm:spPr/>
    </dgm:pt>
    <dgm:pt modelId="{646EC9B9-AEE5-4EA9-9898-0BC2157C6DC4}" type="pres">
      <dgm:prSet presAssocID="{16C556FE-4701-4718-802C-F53603277804}" presName="childText" presStyleLbl="conFgAcc1" presStyleIdx="2" presStyleCnt="5">
        <dgm:presLayoutVars>
          <dgm:bulletEnabled val="1"/>
        </dgm:presLayoutVars>
      </dgm:prSet>
      <dgm:spPr/>
    </dgm:pt>
    <dgm:pt modelId="{3FCF4559-9E51-4C3C-84CC-A34EAD38CC77}" type="pres">
      <dgm:prSet presAssocID="{D321057D-CA04-4E7F-AEFD-EAFC0FB90D09}" presName="spaceBetweenRectangles" presStyleCnt="0"/>
      <dgm:spPr/>
    </dgm:pt>
    <dgm:pt modelId="{ED546497-6438-439D-9F1D-98D41C9516E5}" type="pres">
      <dgm:prSet presAssocID="{A49C634C-D790-451B-9A7C-D2E9AFCE27B0}" presName="parentLin" presStyleCnt="0"/>
      <dgm:spPr/>
    </dgm:pt>
    <dgm:pt modelId="{3810B660-FBA5-4888-9D1E-64015CE04452}" type="pres">
      <dgm:prSet presAssocID="{A49C634C-D790-451B-9A7C-D2E9AFCE27B0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79D56324-765E-4DDF-9758-EF45B5FF5B31}" type="pres">
      <dgm:prSet presAssocID="{A49C634C-D790-451B-9A7C-D2E9AFCE27B0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70BEBB-1F00-457A-B310-15B8854F0835}" type="pres">
      <dgm:prSet presAssocID="{A49C634C-D790-451B-9A7C-D2E9AFCE27B0}" presName="negativeSpace" presStyleCnt="0"/>
      <dgm:spPr/>
    </dgm:pt>
    <dgm:pt modelId="{2851FF77-5882-4397-BCE7-B6D07B11408A}" type="pres">
      <dgm:prSet presAssocID="{A49C634C-D790-451B-9A7C-D2E9AFCE27B0}" presName="childText" presStyleLbl="conFgAcc1" presStyleIdx="3" presStyleCnt="5">
        <dgm:presLayoutVars>
          <dgm:bulletEnabled val="1"/>
        </dgm:presLayoutVars>
      </dgm:prSet>
      <dgm:spPr/>
    </dgm:pt>
    <dgm:pt modelId="{E3985178-1BC5-470B-BD65-1189D24B0894}" type="pres">
      <dgm:prSet presAssocID="{2731EE09-7863-46E7-847F-FEE1027F2A1E}" presName="spaceBetweenRectangles" presStyleCnt="0"/>
      <dgm:spPr/>
    </dgm:pt>
    <dgm:pt modelId="{814DC9E9-EAA6-45A0-A8B0-9F53858C7495}" type="pres">
      <dgm:prSet presAssocID="{5469B9A6-7610-46FA-A2F0-3653CB2FD288}" presName="parentLin" presStyleCnt="0"/>
      <dgm:spPr/>
    </dgm:pt>
    <dgm:pt modelId="{34EF32B7-CBA2-483E-A127-ABD6520BAA5B}" type="pres">
      <dgm:prSet presAssocID="{5469B9A6-7610-46FA-A2F0-3653CB2FD288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0C4D1E36-EE44-40AD-B3CC-6975A629AE0A}" type="pres">
      <dgm:prSet presAssocID="{5469B9A6-7610-46FA-A2F0-3653CB2FD288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5920D0-3A30-4301-B266-A02B05C6EE76}" type="pres">
      <dgm:prSet presAssocID="{5469B9A6-7610-46FA-A2F0-3653CB2FD288}" presName="negativeSpace" presStyleCnt="0"/>
      <dgm:spPr/>
    </dgm:pt>
    <dgm:pt modelId="{942328B7-3C07-4888-B041-DF5AF5FA1962}" type="pres">
      <dgm:prSet presAssocID="{5469B9A6-7610-46FA-A2F0-3653CB2FD288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5782AAC-FADF-432E-AB44-58BA3EA85B6A}" type="presOf" srcId="{5469B9A6-7610-46FA-A2F0-3653CB2FD288}" destId="{34EF32B7-CBA2-483E-A127-ABD6520BAA5B}" srcOrd="0" destOrd="0" presId="urn:microsoft.com/office/officeart/2005/8/layout/list1"/>
    <dgm:cxn modelId="{DC23BE7D-AB7E-41EA-B0A2-9BF13EFC4503}" srcId="{5469B9A6-7610-46FA-A2F0-3653CB2FD288}" destId="{9609C5CB-C932-4EE8-9934-DD0B8D97EDBD}" srcOrd="1" destOrd="0" parTransId="{91B11B5A-C0EC-4764-8CB2-BA705230AC87}" sibTransId="{15159626-AF90-4A28-8659-C5076435F1F3}"/>
    <dgm:cxn modelId="{16429857-D459-46C2-BD5D-D75A85DFA08F}" srcId="{582234B2-54C8-4F63-B5CA-00D08C501384}" destId="{16C556FE-4701-4718-802C-F53603277804}" srcOrd="2" destOrd="0" parTransId="{D3D8E548-40AB-4CAD-87DD-65C16776C678}" sibTransId="{D321057D-CA04-4E7F-AEFD-EAFC0FB90D09}"/>
    <dgm:cxn modelId="{CFA17518-543B-42BF-823A-3A591B0D1CDC}" type="presOf" srcId="{582234B2-54C8-4F63-B5CA-00D08C501384}" destId="{CADEEF77-AD9E-41BC-A753-0F44ED121787}" srcOrd="0" destOrd="0" presId="urn:microsoft.com/office/officeart/2005/8/layout/list1"/>
    <dgm:cxn modelId="{0074977C-E3E6-4FCE-9CF3-8BA922D4A0E7}" type="presOf" srcId="{5469B9A6-7610-46FA-A2F0-3653CB2FD288}" destId="{0C4D1E36-EE44-40AD-B3CC-6975A629AE0A}" srcOrd="1" destOrd="0" presId="urn:microsoft.com/office/officeart/2005/8/layout/list1"/>
    <dgm:cxn modelId="{D29E7C39-88D0-46A2-987A-93EC08DC74E0}" type="presOf" srcId="{F8B481D7-D9B5-4827-8A5E-B8968760449B}" destId="{00BCB51A-82F1-4718-82AA-49008656E47D}" srcOrd="0" destOrd="0" presId="urn:microsoft.com/office/officeart/2005/8/layout/list1"/>
    <dgm:cxn modelId="{EFC43026-FF7B-45A4-9731-561689DA4BAA}" srcId="{582234B2-54C8-4F63-B5CA-00D08C501384}" destId="{5469B9A6-7610-46FA-A2F0-3653CB2FD288}" srcOrd="4" destOrd="0" parTransId="{F2DC8463-B6C1-46CD-AF26-AE059056D5B7}" sibTransId="{6172013F-EC0F-4375-8D75-A4465D7356EC}"/>
    <dgm:cxn modelId="{0EA30EEF-CAF2-4428-AAB2-69C47D36A5FC}" type="presOf" srcId="{16C556FE-4701-4718-802C-F53603277804}" destId="{B57D9B78-A13F-486F-B39E-5FB3E6ECD633}" srcOrd="1" destOrd="0" presId="urn:microsoft.com/office/officeart/2005/8/layout/list1"/>
    <dgm:cxn modelId="{7C130EC9-08B3-4C25-968E-A72CF6DC77C7}" type="presOf" srcId="{345597BD-56D2-47C1-9D06-47DD9059918F}" destId="{7CF564E5-F1C6-4A2B-98BB-1A34F409D8E7}" srcOrd="1" destOrd="0" presId="urn:microsoft.com/office/officeart/2005/8/layout/list1"/>
    <dgm:cxn modelId="{A403D254-A909-4CA3-A824-26F28D1C8216}" type="presOf" srcId="{345597BD-56D2-47C1-9D06-47DD9059918F}" destId="{00AC0D73-03C0-4172-9842-30F6BDC68012}" srcOrd="0" destOrd="0" presId="urn:microsoft.com/office/officeart/2005/8/layout/list1"/>
    <dgm:cxn modelId="{700B9015-867D-47DD-B9DA-C1E07B3EE29C}" srcId="{582234B2-54C8-4F63-B5CA-00D08C501384}" destId="{A49C634C-D790-451B-9A7C-D2E9AFCE27B0}" srcOrd="3" destOrd="0" parTransId="{B60A5B94-2957-4E37-AF2C-004344859A49}" sibTransId="{2731EE09-7863-46E7-847F-FEE1027F2A1E}"/>
    <dgm:cxn modelId="{F982C5A1-2944-4105-A7DB-6468DA3D5636}" type="presOf" srcId="{A49C634C-D790-451B-9A7C-D2E9AFCE27B0}" destId="{79D56324-765E-4DDF-9758-EF45B5FF5B31}" srcOrd="1" destOrd="0" presId="urn:microsoft.com/office/officeart/2005/8/layout/list1"/>
    <dgm:cxn modelId="{30BC8463-2EDF-4C08-87FD-4541BF54824D}" type="presOf" srcId="{16C556FE-4701-4718-802C-F53603277804}" destId="{37FBBAFB-A888-44E2-86BE-B7BBC7C50401}" srcOrd="0" destOrd="0" presId="urn:microsoft.com/office/officeart/2005/8/layout/list1"/>
    <dgm:cxn modelId="{5E976C90-9BD9-4781-8994-C49B96165D08}" srcId="{582234B2-54C8-4F63-B5CA-00D08C501384}" destId="{F8B481D7-D9B5-4827-8A5E-B8968760449B}" srcOrd="1" destOrd="0" parTransId="{ED8DE795-0FD2-482D-BABF-F155F53CDAAD}" sibTransId="{056773B0-0FFA-4036-8095-B0C903366F0E}"/>
    <dgm:cxn modelId="{D8DA2145-2770-479F-BE5D-C4B98875B1CF}" srcId="{582234B2-54C8-4F63-B5CA-00D08C501384}" destId="{345597BD-56D2-47C1-9D06-47DD9059918F}" srcOrd="0" destOrd="0" parTransId="{E0508A6E-41C2-43CE-B7F5-B39BF2B06123}" sibTransId="{71372D02-FA88-42A6-95B4-27B52ABC8592}"/>
    <dgm:cxn modelId="{91495B4D-DF77-4245-933E-491BF083F294}" type="presOf" srcId="{F8B481D7-D9B5-4827-8A5E-B8968760449B}" destId="{95845D3F-ACAA-4948-B9D3-DD7BB9A01E35}" srcOrd="1" destOrd="0" presId="urn:microsoft.com/office/officeart/2005/8/layout/list1"/>
    <dgm:cxn modelId="{892AE6C5-7719-4FC9-B148-DD3D8DBF34E2}" type="presOf" srcId="{43F42412-F416-439A-9FAE-202095CB6CEC}" destId="{942328B7-3C07-4888-B041-DF5AF5FA1962}" srcOrd="0" destOrd="0" presId="urn:microsoft.com/office/officeart/2005/8/layout/list1"/>
    <dgm:cxn modelId="{F65B52A6-F6D8-49D7-91F1-F36015A3B03C}" type="presOf" srcId="{A49C634C-D790-451B-9A7C-D2E9AFCE27B0}" destId="{3810B660-FBA5-4888-9D1E-64015CE04452}" srcOrd="0" destOrd="0" presId="urn:microsoft.com/office/officeart/2005/8/layout/list1"/>
    <dgm:cxn modelId="{495BF1F2-340B-4BA7-BDCC-2F1D14215322}" type="presOf" srcId="{9609C5CB-C932-4EE8-9934-DD0B8D97EDBD}" destId="{942328B7-3C07-4888-B041-DF5AF5FA1962}" srcOrd="0" destOrd="1" presId="urn:microsoft.com/office/officeart/2005/8/layout/list1"/>
    <dgm:cxn modelId="{83503186-84AF-404E-8F26-86A40D461D8B}" srcId="{5469B9A6-7610-46FA-A2F0-3653CB2FD288}" destId="{43F42412-F416-439A-9FAE-202095CB6CEC}" srcOrd="0" destOrd="0" parTransId="{1C47621D-4D83-4C9B-840F-98F600A7620B}" sibTransId="{F6DBAF03-9B0F-4850-833D-91653182B64C}"/>
    <dgm:cxn modelId="{5450669C-69C0-4DF3-9A14-58C03BFA17EB}" type="presParOf" srcId="{CADEEF77-AD9E-41BC-A753-0F44ED121787}" destId="{AE54EB3D-D565-42D1-A6FB-5B33ADD96196}" srcOrd="0" destOrd="0" presId="urn:microsoft.com/office/officeart/2005/8/layout/list1"/>
    <dgm:cxn modelId="{3A7C6043-2515-49E4-A20C-96789AB459F5}" type="presParOf" srcId="{AE54EB3D-D565-42D1-A6FB-5B33ADD96196}" destId="{00AC0D73-03C0-4172-9842-30F6BDC68012}" srcOrd="0" destOrd="0" presId="urn:microsoft.com/office/officeart/2005/8/layout/list1"/>
    <dgm:cxn modelId="{4A79E1CA-7B63-46C8-9595-EF6A01E5D2B9}" type="presParOf" srcId="{AE54EB3D-D565-42D1-A6FB-5B33ADD96196}" destId="{7CF564E5-F1C6-4A2B-98BB-1A34F409D8E7}" srcOrd="1" destOrd="0" presId="urn:microsoft.com/office/officeart/2005/8/layout/list1"/>
    <dgm:cxn modelId="{AD409191-CF5E-4148-BC08-9D1CE16479A8}" type="presParOf" srcId="{CADEEF77-AD9E-41BC-A753-0F44ED121787}" destId="{8C516BE7-5A08-4453-8AAA-85C1EBC16FF1}" srcOrd="1" destOrd="0" presId="urn:microsoft.com/office/officeart/2005/8/layout/list1"/>
    <dgm:cxn modelId="{CD3F5D99-ED02-47B5-90F6-08ABD3B32EA6}" type="presParOf" srcId="{CADEEF77-AD9E-41BC-A753-0F44ED121787}" destId="{4D9B9452-A243-4F50-BF83-8A531EBA497A}" srcOrd="2" destOrd="0" presId="urn:microsoft.com/office/officeart/2005/8/layout/list1"/>
    <dgm:cxn modelId="{CDEF72CD-29EB-4706-A7A1-F8D991BD9719}" type="presParOf" srcId="{CADEEF77-AD9E-41BC-A753-0F44ED121787}" destId="{6EBDEC38-7059-4BD2-A07B-9B33D155F415}" srcOrd="3" destOrd="0" presId="urn:microsoft.com/office/officeart/2005/8/layout/list1"/>
    <dgm:cxn modelId="{886132C2-B2AB-4487-ACD1-B05F95789B8C}" type="presParOf" srcId="{CADEEF77-AD9E-41BC-A753-0F44ED121787}" destId="{8FBA05C1-FC9A-4C76-8FBC-16D3FC39F956}" srcOrd="4" destOrd="0" presId="urn:microsoft.com/office/officeart/2005/8/layout/list1"/>
    <dgm:cxn modelId="{BB31B1E7-AFA3-42D9-B13D-27636867193D}" type="presParOf" srcId="{8FBA05C1-FC9A-4C76-8FBC-16D3FC39F956}" destId="{00BCB51A-82F1-4718-82AA-49008656E47D}" srcOrd="0" destOrd="0" presId="urn:microsoft.com/office/officeart/2005/8/layout/list1"/>
    <dgm:cxn modelId="{EADE8EA1-868C-45C0-B80F-1BA386CE069A}" type="presParOf" srcId="{8FBA05C1-FC9A-4C76-8FBC-16D3FC39F956}" destId="{95845D3F-ACAA-4948-B9D3-DD7BB9A01E35}" srcOrd="1" destOrd="0" presId="urn:microsoft.com/office/officeart/2005/8/layout/list1"/>
    <dgm:cxn modelId="{5FF2F1AD-6F5D-429B-A9A8-D5D248048274}" type="presParOf" srcId="{CADEEF77-AD9E-41BC-A753-0F44ED121787}" destId="{667DA614-CE89-4C4B-A5B5-352CEC6E34DB}" srcOrd="5" destOrd="0" presId="urn:microsoft.com/office/officeart/2005/8/layout/list1"/>
    <dgm:cxn modelId="{796AFD4E-7335-427A-905A-9D8530759EEC}" type="presParOf" srcId="{CADEEF77-AD9E-41BC-A753-0F44ED121787}" destId="{CE547230-CED0-40BA-A9D6-AD5E2168BC93}" srcOrd="6" destOrd="0" presId="urn:microsoft.com/office/officeart/2005/8/layout/list1"/>
    <dgm:cxn modelId="{B8721647-DE62-4BFB-8DF4-20EF025DD376}" type="presParOf" srcId="{CADEEF77-AD9E-41BC-A753-0F44ED121787}" destId="{DE8ADD4A-E63D-45F5-B8FB-253834C0747D}" srcOrd="7" destOrd="0" presId="urn:microsoft.com/office/officeart/2005/8/layout/list1"/>
    <dgm:cxn modelId="{C41B4C17-3C90-4AF4-9D41-0442BCBB8343}" type="presParOf" srcId="{CADEEF77-AD9E-41BC-A753-0F44ED121787}" destId="{B02448AB-4A66-4240-AA1B-C3497787F416}" srcOrd="8" destOrd="0" presId="urn:microsoft.com/office/officeart/2005/8/layout/list1"/>
    <dgm:cxn modelId="{E006BBFC-4AA8-4E3D-A2B0-E36638CB6189}" type="presParOf" srcId="{B02448AB-4A66-4240-AA1B-C3497787F416}" destId="{37FBBAFB-A888-44E2-86BE-B7BBC7C50401}" srcOrd="0" destOrd="0" presId="urn:microsoft.com/office/officeart/2005/8/layout/list1"/>
    <dgm:cxn modelId="{B6B1B571-7F4B-449E-987D-5DC3971C068E}" type="presParOf" srcId="{B02448AB-4A66-4240-AA1B-C3497787F416}" destId="{B57D9B78-A13F-486F-B39E-5FB3E6ECD633}" srcOrd="1" destOrd="0" presId="urn:microsoft.com/office/officeart/2005/8/layout/list1"/>
    <dgm:cxn modelId="{24452510-81E3-482C-9E0E-B5DB67DAC847}" type="presParOf" srcId="{CADEEF77-AD9E-41BC-A753-0F44ED121787}" destId="{87BF4928-8826-4B05-8E75-2F3121C2E9D3}" srcOrd="9" destOrd="0" presId="urn:microsoft.com/office/officeart/2005/8/layout/list1"/>
    <dgm:cxn modelId="{3A391085-67E2-45B1-AD3B-4407D7A45099}" type="presParOf" srcId="{CADEEF77-AD9E-41BC-A753-0F44ED121787}" destId="{646EC9B9-AEE5-4EA9-9898-0BC2157C6DC4}" srcOrd="10" destOrd="0" presId="urn:microsoft.com/office/officeart/2005/8/layout/list1"/>
    <dgm:cxn modelId="{BD41FB19-F09A-4677-87AE-EB44965EE20B}" type="presParOf" srcId="{CADEEF77-AD9E-41BC-A753-0F44ED121787}" destId="{3FCF4559-9E51-4C3C-84CC-A34EAD38CC77}" srcOrd="11" destOrd="0" presId="urn:microsoft.com/office/officeart/2005/8/layout/list1"/>
    <dgm:cxn modelId="{B9492B81-8340-4F1B-870D-C63A1A3E4CCE}" type="presParOf" srcId="{CADEEF77-AD9E-41BC-A753-0F44ED121787}" destId="{ED546497-6438-439D-9F1D-98D41C9516E5}" srcOrd="12" destOrd="0" presId="urn:microsoft.com/office/officeart/2005/8/layout/list1"/>
    <dgm:cxn modelId="{B4A88E23-D2BF-460F-9E4D-4FA6B54892C3}" type="presParOf" srcId="{ED546497-6438-439D-9F1D-98D41C9516E5}" destId="{3810B660-FBA5-4888-9D1E-64015CE04452}" srcOrd="0" destOrd="0" presId="urn:microsoft.com/office/officeart/2005/8/layout/list1"/>
    <dgm:cxn modelId="{73A632D0-0AF6-4639-955A-A34E0D52C0EF}" type="presParOf" srcId="{ED546497-6438-439D-9F1D-98D41C9516E5}" destId="{79D56324-765E-4DDF-9758-EF45B5FF5B31}" srcOrd="1" destOrd="0" presId="urn:microsoft.com/office/officeart/2005/8/layout/list1"/>
    <dgm:cxn modelId="{C7479456-2FB5-4366-95AE-673A8C516C8C}" type="presParOf" srcId="{CADEEF77-AD9E-41BC-A753-0F44ED121787}" destId="{D470BEBB-1F00-457A-B310-15B8854F0835}" srcOrd="13" destOrd="0" presId="urn:microsoft.com/office/officeart/2005/8/layout/list1"/>
    <dgm:cxn modelId="{BE1F50CB-B56A-4536-80F6-71CF48D96A4D}" type="presParOf" srcId="{CADEEF77-AD9E-41BC-A753-0F44ED121787}" destId="{2851FF77-5882-4397-BCE7-B6D07B11408A}" srcOrd="14" destOrd="0" presId="urn:microsoft.com/office/officeart/2005/8/layout/list1"/>
    <dgm:cxn modelId="{EFC2F10A-6B0E-48B7-9820-1ACBF7941AFE}" type="presParOf" srcId="{CADEEF77-AD9E-41BC-A753-0F44ED121787}" destId="{E3985178-1BC5-470B-BD65-1189D24B0894}" srcOrd="15" destOrd="0" presId="urn:microsoft.com/office/officeart/2005/8/layout/list1"/>
    <dgm:cxn modelId="{3484D563-931E-49BB-9F88-2B120EF93E91}" type="presParOf" srcId="{CADEEF77-AD9E-41BC-A753-0F44ED121787}" destId="{814DC9E9-EAA6-45A0-A8B0-9F53858C7495}" srcOrd="16" destOrd="0" presId="urn:microsoft.com/office/officeart/2005/8/layout/list1"/>
    <dgm:cxn modelId="{7D79F5B6-A24A-46D2-AD84-FE9A72891C7E}" type="presParOf" srcId="{814DC9E9-EAA6-45A0-A8B0-9F53858C7495}" destId="{34EF32B7-CBA2-483E-A127-ABD6520BAA5B}" srcOrd="0" destOrd="0" presId="urn:microsoft.com/office/officeart/2005/8/layout/list1"/>
    <dgm:cxn modelId="{46B937BE-83FD-4538-9AB0-202C36929DB6}" type="presParOf" srcId="{814DC9E9-EAA6-45A0-A8B0-9F53858C7495}" destId="{0C4D1E36-EE44-40AD-B3CC-6975A629AE0A}" srcOrd="1" destOrd="0" presId="urn:microsoft.com/office/officeart/2005/8/layout/list1"/>
    <dgm:cxn modelId="{29F6BA95-DDCA-4E37-B1AB-7B687BC9A6C9}" type="presParOf" srcId="{CADEEF77-AD9E-41BC-A753-0F44ED121787}" destId="{895920D0-3A30-4301-B266-A02B05C6EE76}" srcOrd="17" destOrd="0" presId="urn:microsoft.com/office/officeart/2005/8/layout/list1"/>
    <dgm:cxn modelId="{60B713F2-AE4F-4A3E-9D02-7AC1BD63D6C0}" type="presParOf" srcId="{CADEEF77-AD9E-41BC-A753-0F44ED121787}" destId="{942328B7-3C07-4888-B041-DF5AF5FA1962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EBCF1A3-E734-4458-9766-79F2BA297AA7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58D5B2-A1F3-4AF2-A87A-EDDFD08EFD84}">
      <dgm:prSet phldrT="[Text]" custT="1"/>
      <dgm:spPr/>
      <dgm:t>
        <a:bodyPr/>
        <a:lstStyle/>
        <a:p>
          <a:r>
            <a:rPr lang="en-US" sz="2400" dirty="0" smtClean="0">
              <a:latin typeface="+mj-lt"/>
            </a:rPr>
            <a:t>Structure of python code</a:t>
          </a:r>
          <a:endParaRPr lang="en-US" sz="2400" dirty="0">
            <a:latin typeface="+mj-lt"/>
          </a:endParaRPr>
        </a:p>
      </dgm:t>
    </dgm:pt>
    <dgm:pt modelId="{24F81113-97DD-4F10-919A-CB230EE197C0}" type="parTrans" cxnId="{1AC6E507-D372-4C74-AD93-F27EEB052804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B9D330D6-FF0E-4A28-B58A-8F842584D6E0}" type="sibTrans" cxnId="{1AC6E507-D372-4C74-AD93-F27EEB052804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C2B79818-2F45-4C34-937A-5CBBD780AE29}">
      <dgm:prSet phldrT="[Text]" custT="1"/>
      <dgm:spPr/>
      <dgm:t>
        <a:bodyPr/>
        <a:lstStyle/>
        <a:p>
          <a:r>
            <a:rPr lang="en-US" sz="2400" dirty="0" smtClean="0">
              <a:latin typeface="+mj-lt"/>
            </a:rPr>
            <a:t>Variables &amp; Data Types</a:t>
          </a:r>
          <a:endParaRPr lang="en-US" sz="2400" dirty="0">
            <a:latin typeface="+mj-lt"/>
          </a:endParaRPr>
        </a:p>
      </dgm:t>
    </dgm:pt>
    <dgm:pt modelId="{89651193-6381-43A1-9DDE-4E4FEEF43F31}" type="parTrans" cxnId="{3E847A77-7768-44A4-A3F7-4A54F1E7652B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661C669B-87F0-4BB0-B172-C987AB7FCC35}" type="sibTrans" cxnId="{3E847A77-7768-44A4-A3F7-4A54F1E7652B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413C9C7F-6D97-43D5-ACE7-AD01B55535FA}">
      <dgm:prSet phldrT="[Text]" custT="1"/>
      <dgm:spPr/>
      <dgm:t>
        <a:bodyPr/>
        <a:lstStyle/>
        <a:p>
          <a:r>
            <a:rPr lang="en-US" sz="2400" dirty="0" smtClean="0">
              <a:latin typeface="+mj-lt"/>
            </a:rPr>
            <a:t>Operators</a:t>
          </a:r>
          <a:endParaRPr lang="en-US" sz="2400" dirty="0">
            <a:latin typeface="+mj-lt"/>
          </a:endParaRPr>
        </a:p>
      </dgm:t>
    </dgm:pt>
    <dgm:pt modelId="{EC785676-A47A-46F9-8E8E-709AC47A2E04}" type="parTrans" cxnId="{D22A8907-CC62-4F35-AA82-3F1715072448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E33F606B-EFA0-43EF-A074-CB7A8E0D0184}" type="sibTrans" cxnId="{D22A8907-CC62-4F35-AA82-3F1715072448}">
      <dgm:prSet/>
      <dgm:spPr/>
      <dgm:t>
        <a:bodyPr/>
        <a:lstStyle/>
        <a:p>
          <a:endParaRPr lang="en-US">
            <a:latin typeface="Candara" pitchFamily="34" charset="0"/>
          </a:endParaRPr>
        </a:p>
      </dgm:t>
    </dgm:pt>
    <dgm:pt modelId="{74AB4AD6-F65C-4BC0-AF62-4175A72267A7}" type="pres">
      <dgm:prSet presAssocID="{1EBCF1A3-E734-4458-9766-79F2BA297AA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1D94827-0107-4109-AFAF-FA52BC2E6178}" type="pres">
      <dgm:prSet presAssocID="{4458D5B2-A1F3-4AF2-A87A-EDDFD08EFD84}" presName="parentLin" presStyleCnt="0"/>
      <dgm:spPr/>
    </dgm:pt>
    <dgm:pt modelId="{C19513DD-0864-47F3-812A-91007CFAD757}" type="pres">
      <dgm:prSet presAssocID="{4458D5B2-A1F3-4AF2-A87A-EDDFD08EFD8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D72B20D2-5A3F-4AEE-99D1-AC650FB2A6D7}" type="pres">
      <dgm:prSet presAssocID="{4458D5B2-A1F3-4AF2-A87A-EDDFD08EFD8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848955-FA7A-4B7C-BAD8-9F994FE3EC18}" type="pres">
      <dgm:prSet presAssocID="{4458D5B2-A1F3-4AF2-A87A-EDDFD08EFD84}" presName="negativeSpace" presStyleCnt="0"/>
      <dgm:spPr/>
    </dgm:pt>
    <dgm:pt modelId="{955170CD-15F7-4E87-9999-561755FFCD72}" type="pres">
      <dgm:prSet presAssocID="{4458D5B2-A1F3-4AF2-A87A-EDDFD08EFD84}" presName="childText" presStyleLbl="conFgAcc1" presStyleIdx="0" presStyleCnt="3">
        <dgm:presLayoutVars>
          <dgm:bulletEnabled val="1"/>
        </dgm:presLayoutVars>
      </dgm:prSet>
      <dgm:spPr/>
    </dgm:pt>
    <dgm:pt modelId="{D84FF903-9ECE-47DA-9698-A77F6603DC2F}" type="pres">
      <dgm:prSet presAssocID="{B9D330D6-FF0E-4A28-B58A-8F842584D6E0}" presName="spaceBetweenRectangles" presStyleCnt="0"/>
      <dgm:spPr/>
    </dgm:pt>
    <dgm:pt modelId="{6FEF580E-EF05-4F33-9917-67F80A4F13EA}" type="pres">
      <dgm:prSet presAssocID="{C2B79818-2F45-4C34-937A-5CBBD780AE29}" presName="parentLin" presStyleCnt="0"/>
      <dgm:spPr/>
    </dgm:pt>
    <dgm:pt modelId="{8BB98364-0D8E-485C-967D-6037BB04E6E2}" type="pres">
      <dgm:prSet presAssocID="{C2B79818-2F45-4C34-937A-5CBBD780AE29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23F1F95D-4C5A-44EF-AB2E-16336294C958}" type="pres">
      <dgm:prSet presAssocID="{C2B79818-2F45-4C34-937A-5CBBD780AE29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86DBE0-6834-4BEF-8E42-A3F7E1609328}" type="pres">
      <dgm:prSet presAssocID="{C2B79818-2F45-4C34-937A-5CBBD780AE29}" presName="negativeSpace" presStyleCnt="0"/>
      <dgm:spPr/>
    </dgm:pt>
    <dgm:pt modelId="{AE079E46-90CE-4BE0-A872-206D78B257B4}" type="pres">
      <dgm:prSet presAssocID="{C2B79818-2F45-4C34-937A-5CBBD780AE29}" presName="childText" presStyleLbl="conFgAcc1" presStyleIdx="1" presStyleCnt="3">
        <dgm:presLayoutVars>
          <dgm:bulletEnabled val="1"/>
        </dgm:presLayoutVars>
      </dgm:prSet>
      <dgm:spPr/>
    </dgm:pt>
    <dgm:pt modelId="{5AECC85B-BEE2-4795-83C5-53FDBA81CA92}" type="pres">
      <dgm:prSet presAssocID="{661C669B-87F0-4BB0-B172-C987AB7FCC35}" presName="spaceBetweenRectangles" presStyleCnt="0"/>
      <dgm:spPr/>
    </dgm:pt>
    <dgm:pt modelId="{6D46CFF2-1C46-4E0F-9C20-CE59ECB90479}" type="pres">
      <dgm:prSet presAssocID="{413C9C7F-6D97-43D5-ACE7-AD01B55535FA}" presName="parentLin" presStyleCnt="0"/>
      <dgm:spPr/>
    </dgm:pt>
    <dgm:pt modelId="{EBC61875-847E-445D-A89B-F2ED8089D5AD}" type="pres">
      <dgm:prSet presAssocID="{413C9C7F-6D97-43D5-ACE7-AD01B55535FA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F97F93FA-3FC0-4946-BFE1-32AF4BD1CFE5}" type="pres">
      <dgm:prSet presAssocID="{413C9C7F-6D97-43D5-ACE7-AD01B55535FA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BC5365-9926-405B-B37C-F617F587EE0D}" type="pres">
      <dgm:prSet presAssocID="{413C9C7F-6D97-43D5-ACE7-AD01B55535FA}" presName="negativeSpace" presStyleCnt="0"/>
      <dgm:spPr/>
    </dgm:pt>
    <dgm:pt modelId="{74FCD157-9250-45C5-B267-08E43ECB090E}" type="pres">
      <dgm:prSet presAssocID="{413C9C7F-6D97-43D5-ACE7-AD01B55535FA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A953A69-3731-43A4-8BD8-69EA768DA28C}" type="presOf" srcId="{C2B79818-2F45-4C34-937A-5CBBD780AE29}" destId="{23F1F95D-4C5A-44EF-AB2E-16336294C958}" srcOrd="1" destOrd="0" presId="urn:microsoft.com/office/officeart/2005/8/layout/list1"/>
    <dgm:cxn modelId="{9A717E00-14C3-49F6-A882-6341C1ACCBA1}" type="presOf" srcId="{C2B79818-2F45-4C34-937A-5CBBD780AE29}" destId="{8BB98364-0D8E-485C-967D-6037BB04E6E2}" srcOrd="0" destOrd="0" presId="urn:microsoft.com/office/officeart/2005/8/layout/list1"/>
    <dgm:cxn modelId="{1AC6E507-D372-4C74-AD93-F27EEB052804}" srcId="{1EBCF1A3-E734-4458-9766-79F2BA297AA7}" destId="{4458D5B2-A1F3-4AF2-A87A-EDDFD08EFD84}" srcOrd="0" destOrd="0" parTransId="{24F81113-97DD-4F10-919A-CB230EE197C0}" sibTransId="{B9D330D6-FF0E-4A28-B58A-8F842584D6E0}"/>
    <dgm:cxn modelId="{F2D637CE-E8DC-43C7-937A-69B584E378C0}" type="presOf" srcId="{1EBCF1A3-E734-4458-9766-79F2BA297AA7}" destId="{74AB4AD6-F65C-4BC0-AF62-4175A72267A7}" srcOrd="0" destOrd="0" presId="urn:microsoft.com/office/officeart/2005/8/layout/list1"/>
    <dgm:cxn modelId="{8B831D18-E6A3-492C-A22B-33C9D728BA8B}" type="presOf" srcId="{4458D5B2-A1F3-4AF2-A87A-EDDFD08EFD84}" destId="{C19513DD-0864-47F3-812A-91007CFAD757}" srcOrd="0" destOrd="0" presId="urn:microsoft.com/office/officeart/2005/8/layout/list1"/>
    <dgm:cxn modelId="{BC3EACCD-50CB-4C7C-A590-739A1C54DA5E}" type="presOf" srcId="{4458D5B2-A1F3-4AF2-A87A-EDDFD08EFD84}" destId="{D72B20D2-5A3F-4AEE-99D1-AC650FB2A6D7}" srcOrd="1" destOrd="0" presId="urn:microsoft.com/office/officeart/2005/8/layout/list1"/>
    <dgm:cxn modelId="{D22A8907-CC62-4F35-AA82-3F1715072448}" srcId="{1EBCF1A3-E734-4458-9766-79F2BA297AA7}" destId="{413C9C7F-6D97-43D5-ACE7-AD01B55535FA}" srcOrd="2" destOrd="0" parTransId="{EC785676-A47A-46F9-8E8E-709AC47A2E04}" sibTransId="{E33F606B-EFA0-43EF-A074-CB7A8E0D0184}"/>
    <dgm:cxn modelId="{13AC5BC2-F290-4C1A-B361-5A85E6E9B5A7}" type="presOf" srcId="{413C9C7F-6D97-43D5-ACE7-AD01B55535FA}" destId="{F97F93FA-3FC0-4946-BFE1-32AF4BD1CFE5}" srcOrd="1" destOrd="0" presId="urn:microsoft.com/office/officeart/2005/8/layout/list1"/>
    <dgm:cxn modelId="{3E847A77-7768-44A4-A3F7-4A54F1E7652B}" srcId="{1EBCF1A3-E734-4458-9766-79F2BA297AA7}" destId="{C2B79818-2F45-4C34-937A-5CBBD780AE29}" srcOrd="1" destOrd="0" parTransId="{89651193-6381-43A1-9DDE-4E4FEEF43F31}" sibTransId="{661C669B-87F0-4BB0-B172-C987AB7FCC35}"/>
    <dgm:cxn modelId="{FAE5EFB8-F7A5-4BAF-B985-9E42B507C414}" type="presOf" srcId="{413C9C7F-6D97-43D5-ACE7-AD01B55535FA}" destId="{EBC61875-847E-445D-A89B-F2ED8089D5AD}" srcOrd="0" destOrd="0" presId="urn:microsoft.com/office/officeart/2005/8/layout/list1"/>
    <dgm:cxn modelId="{60E0153F-3F82-4821-998A-B08631DBF458}" type="presParOf" srcId="{74AB4AD6-F65C-4BC0-AF62-4175A72267A7}" destId="{E1D94827-0107-4109-AFAF-FA52BC2E6178}" srcOrd="0" destOrd="0" presId="urn:microsoft.com/office/officeart/2005/8/layout/list1"/>
    <dgm:cxn modelId="{8FE221E4-166D-4A14-996E-98A888D7413D}" type="presParOf" srcId="{E1D94827-0107-4109-AFAF-FA52BC2E6178}" destId="{C19513DD-0864-47F3-812A-91007CFAD757}" srcOrd="0" destOrd="0" presId="urn:microsoft.com/office/officeart/2005/8/layout/list1"/>
    <dgm:cxn modelId="{63440D13-0F2C-436C-B746-BF4907E415B2}" type="presParOf" srcId="{E1D94827-0107-4109-AFAF-FA52BC2E6178}" destId="{D72B20D2-5A3F-4AEE-99D1-AC650FB2A6D7}" srcOrd="1" destOrd="0" presId="urn:microsoft.com/office/officeart/2005/8/layout/list1"/>
    <dgm:cxn modelId="{9DF2A212-2CF0-4747-858F-3DE0546588ED}" type="presParOf" srcId="{74AB4AD6-F65C-4BC0-AF62-4175A72267A7}" destId="{FC848955-FA7A-4B7C-BAD8-9F994FE3EC18}" srcOrd="1" destOrd="0" presId="urn:microsoft.com/office/officeart/2005/8/layout/list1"/>
    <dgm:cxn modelId="{39674DE8-315A-4A12-867E-DF5E72525E67}" type="presParOf" srcId="{74AB4AD6-F65C-4BC0-AF62-4175A72267A7}" destId="{955170CD-15F7-4E87-9999-561755FFCD72}" srcOrd="2" destOrd="0" presId="urn:microsoft.com/office/officeart/2005/8/layout/list1"/>
    <dgm:cxn modelId="{0B62DD69-B151-4F11-8341-FD9D6959B0A6}" type="presParOf" srcId="{74AB4AD6-F65C-4BC0-AF62-4175A72267A7}" destId="{D84FF903-9ECE-47DA-9698-A77F6603DC2F}" srcOrd="3" destOrd="0" presId="urn:microsoft.com/office/officeart/2005/8/layout/list1"/>
    <dgm:cxn modelId="{BE759B88-CF10-4926-86A2-0865AA885117}" type="presParOf" srcId="{74AB4AD6-F65C-4BC0-AF62-4175A72267A7}" destId="{6FEF580E-EF05-4F33-9917-67F80A4F13EA}" srcOrd="4" destOrd="0" presId="urn:microsoft.com/office/officeart/2005/8/layout/list1"/>
    <dgm:cxn modelId="{8C813E9C-DBCE-4FB7-AB5B-FFA93214E7CA}" type="presParOf" srcId="{6FEF580E-EF05-4F33-9917-67F80A4F13EA}" destId="{8BB98364-0D8E-485C-967D-6037BB04E6E2}" srcOrd="0" destOrd="0" presId="urn:microsoft.com/office/officeart/2005/8/layout/list1"/>
    <dgm:cxn modelId="{646AA11F-DAA5-4FC3-9430-583381038386}" type="presParOf" srcId="{6FEF580E-EF05-4F33-9917-67F80A4F13EA}" destId="{23F1F95D-4C5A-44EF-AB2E-16336294C958}" srcOrd="1" destOrd="0" presId="urn:microsoft.com/office/officeart/2005/8/layout/list1"/>
    <dgm:cxn modelId="{BDC9D567-9F3E-43EF-9988-A72A310122AB}" type="presParOf" srcId="{74AB4AD6-F65C-4BC0-AF62-4175A72267A7}" destId="{FD86DBE0-6834-4BEF-8E42-A3F7E1609328}" srcOrd="5" destOrd="0" presId="urn:microsoft.com/office/officeart/2005/8/layout/list1"/>
    <dgm:cxn modelId="{59C85B33-042D-4DEA-82B3-F217E54E1F49}" type="presParOf" srcId="{74AB4AD6-F65C-4BC0-AF62-4175A72267A7}" destId="{AE079E46-90CE-4BE0-A872-206D78B257B4}" srcOrd="6" destOrd="0" presId="urn:microsoft.com/office/officeart/2005/8/layout/list1"/>
    <dgm:cxn modelId="{A442D402-D88B-47D0-8FA1-8963977A3B0D}" type="presParOf" srcId="{74AB4AD6-F65C-4BC0-AF62-4175A72267A7}" destId="{5AECC85B-BEE2-4795-83C5-53FDBA81CA92}" srcOrd="7" destOrd="0" presId="urn:microsoft.com/office/officeart/2005/8/layout/list1"/>
    <dgm:cxn modelId="{AF1CE3B0-14C6-48D4-B7CC-A2866CA11046}" type="presParOf" srcId="{74AB4AD6-F65C-4BC0-AF62-4175A72267A7}" destId="{6D46CFF2-1C46-4E0F-9C20-CE59ECB90479}" srcOrd="8" destOrd="0" presId="urn:microsoft.com/office/officeart/2005/8/layout/list1"/>
    <dgm:cxn modelId="{5D8D9E99-EAA4-4FDB-A9A0-70267E4E5FB0}" type="presParOf" srcId="{6D46CFF2-1C46-4E0F-9C20-CE59ECB90479}" destId="{EBC61875-847E-445D-A89B-F2ED8089D5AD}" srcOrd="0" destOrd="0" presId="urn:microsoft.com/office/officeart/2005/8/layout/list1"/>
    <dgm:cxn modelId="{F0417EA0-9AA5-42D4-A29D-5D812FABEBFD}" type="presParOf" srcId="{6D46CFF2-1C46-4E0F-9C20-CE59ECB90479}" destId="{F97F93FA-3FC0-4946-BFE1-32AF4BD1CFE5}" srcOrd="1" destOrd="0" presId="urn:microsoft.com/office/officeart/2005/8/layout/list1"/>
    <dgm:cxn modelId="{C9409632-8006-45E1-ADE6-831FD07694B3}" type="presParOf" srcId="{74AB4AD6-F65C-4BC0-AF62-4175A72267A7}" destId="{14BC5365-9926-405B-B37C-F617F587EE0D}" srcOrd="9" destOrd="0" presId="urn:microsoft.com/office/officeart/2005/8/layout/list1"/>
    <dgm:cxn modelId="{3EE7628F-CB5B-4641-B08D-588DDD602EDF}" type="presParOf" srcId="{74AB4AD6-F65C-4BC0-AF62-4175A72267A7}" destId="{74FCD157-9250-45C5-B267-08E43ECB090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184DE9-8641-4819-A5B7-135AF50A4DF5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C04B6E-109C-495C-979C-3C08DA3C67C5}">
      <dgm:prSet phldrT="[Text]"/>
      <dgm:spPr/>
      <dgm:t>
        <a:bodyPr/>
        <a:lstStyle/>
        <a:p>
          <a:r>
            <a:rPr lang="en-US" dirty="0" smtClean="0"/>
            <a:t>Numbers</a:t>
          </a:r>
          <a:endParaRPr lang="en-US" dirty="0"/>
        </a:p>
      </dgm:t>
    </dgm:pt>
    <dgm:pt modelId="{F102DCB3-42C5-4D97-8D27-68D1F956E154}" type="parTrans" cxnId="{6F91FD0C-88F8-4100-BE3A-CC3167EF1C93}">
      <dgm:prSet/>
      <dgm:spPr/>
      <dgm:t>
        <a:bodyPr/>
        <a:lstStyle/>
        <a:p>
          <a:endParaRPr lang="en-US"/>
        </a:p>
      </dgm:t>
    </dgm:pt>
    <dgm:pt modelId="{A927300A-DA4D-4EAA-AC0C-246A8AF534B7}" type="sibTrans" cxnId="{6F91FD0C-88F8-4100-BE3A-CC3167EF1C93}">
      <dgm:prSet/>
      <dgm:spPr/>
      <dgm:t>
        <a:bodyPr/>
        <a:lstStyle/>
        <a:p>
          <a:endParaRPr lang="en-US"/>
        </a:p>
      </dgm:t>
    </dgm:pt>
    <dgm:pt modelId="{AF5C0667-0353-4DE9-A269-D4ECF0E6873C}">
      <dgm:prSet phldrT="[Text]"/>
      <dgm:spPr/>
      <dgm:t>
        <a:bodyPr/>
        <a:lstStyle/>
        <a:p>
          <a:r>
            <a:rPr lang="en-US" dirty="0" smtClean="0"/>
            <a:t>Boolean</a:t>
          </a:r>
          <a:endParaRPr lang="en-US" dirty="0"/>
        </a:p>
      </dgm:t>
    </dgm:pt>
    <dgm:pt modelId="{981885C3-5809-4182-90F6-52F53F227894}" type="parTrans" cxnId="{D6A4225D-A56A-444A-AEA6-1FDD363326A2}">
      <dgm:prSet/>
      <dgm:spPr/>
      <dgm:t>
        <a:bodyPr/>
        <a:lstStyle/>
        <a:p>
          <a:endParaRPr lang="en-US"/>
        </a:p>
      </dgm:t>
    </dgm:pt>
    <dgm:pt modelId="{EDDC503A-896E-46E8-A0F3-2E4916F3BA48}" type="sibTrans" cxnId="{D6A4225D-A56A-444A-AEA6-1FDD363326A2}">
      <dgm:prSet/>
      <dgm:spPr/>
      <dgm:t>
        <a:bodyPr/>
        <a:lstStyle/>
        <a:p>
          <a:endParaRPr lang="en-US"/>
        </a:p>
      </dgm:t>
    </dgm:pt>
    <dgm:pt modelId="{9DCA860F-5632-4CFF-B63F-00E3514233BC}">
      <dgm:prSet phldrT="[Text]"/>
      <dgm:spPr/>
      <dgm:t>
        <a:bodyPr/>
        <a:lstStyle/>
        <a:p>
          <a:r>
            <a:rPr lang="en-US" dirty="0" smtClean="0"/>
            <a:t>Operators</a:t>
          </a:r>
          <a:endParaRPr lang="en-US" dirty="0"/>
        </a:p>
      </dgm:t>
    </dgm:pt>
    <dgm:pt modelId="{B5C3E50A-7F14-4BEA-8BF7-753B76488C40}" type="parTrans" cxnId="{765E6684-E8F6-4918-8DE8-4A0F581A83E4}">
      <dgm:prSet/>
      <dgm:spPr/>
      <dgm:t>
        <a:bodyPr/>
        <a:lstStyle/>
        <a:p>
          <a:endParaRPr lang="en-US"/>
        </a:p>
      </dgm:t>
    </dgm:pt>
    <dgm:pt modelId="{3C443E20-A521-46D4-8581-956F0C4AFBCA}" type="sibTrans" cxnId="{765E6684-E8F6-4918-8DE8-4A0F581A83E4}">
      <dgm:prSet/>
      <dgm:spPr/>
      <dgm:t>
        <a:bodyPr/>
        <a:lstStyle/>
        <a:p>
          <a:endParaRPr lang="en-US"/>
        </a:p>
      </dgm:t>
    </dgm:pt>
    <dgm:pt modelId="{159123D2-2266-4964-9ADA-4D25F09C14D3}">
      <dgm:prSet phldrT="[Text]"/>
      <dgm:spPr/>
      <dgm:t>
        <a:bodyPr/>
        <a:lstStyle/>
        <a:p>
          <a:r>
            <a:rPr lang="en-US" dirty="0" smtClean="0"/>
            <a:t>Functions</a:t>
          </a:r>
          <a:endParaRPr lang="en-US" dirty="0"/>
        </a:p>
      </dgm:t>
    </dgm:pt>
    <dgm:pt modelId="{40208FE0-BAD3-47BB-8E16-99806C4A3487}" type="parTrans" cxnId="{0517D37B-4D9F-4160-94C7-CBCD92DD4DB2}">
      <dgm:prSet/>
      <dgm:spPr/>
      <dgm:t>
        <a:bodyPr/>
        <a:lstStyle/>
        <a:p>
          <a:endParaRPr lang="en-US"/>
        </a:p>
      </dgm:t>
    </dgm:pt>
    <dgm:pt modelId="{E850828E-C239-43F6-9101-3A3969E788B4}" type="sibTrans" cxnId="{0517D37B-4D9F-4160-94C7-CBCD92DD4DB2}">
      <dgm:prSet/>
      <dgm:spPr/>
      <dgm:t>
        <a:bodyPr/>
        <a:lstStyle/>
        <a:p>
          <a:endParaRPr lang="en-US"/>
        </a:p>
      </dgm:t>
    </dgm:pt>
    <dgm:pt modelId="{EDB6482E-BCF9-4D8E-A8ED-B5F5FE89504B}">
      <dgm:prSet phldrT="[Text]"/>
      <dgm:spPr/>
      <dgm:t>
        <a:bodyPr/>
        <a:lstStyle/>
        <a:p>
          <a:r>
            <a:rPr lang="en-US" dirty="0" smtClean="0"/>
            <a:t>Strings</a:t>
          </a:r>
          <a:endParaRPr lang="en-US" dirty="0"/>
        </a:p>
      </dgm:t>
    </dgm:pt>
    <dgm:pt modelId="{9B864DFD-3A33-47A4-B5CF-279461F29400}" type="parTrans" cxnId="{D6465D17-A38C-4745-8090-C4E9D5660B3C}">
      <dgm:prSet/>
      <dgm:spPr/>
      <dgm:t>
        <a:bodyPr/>
        <a:lstStyle/>
        <a:p>
          <a:endParaRPr lang="en-US"/>
        </a:p>
      </dgm:t>
    </dgm:pt>
    <dgm:pt modelId="{3842ECF7-47C5-4D83-BC12-412CE8E4E3CC}" type="sibTrans" cxnId="{D6465D17-A38C-4745-8090-C4E9D5660B3C}">
      <dgm:prSet/>
      <dgm:spPr/>
      <dgm:t>
        <a:bodyPr/>
        <a:lstStyle/>
        <a:p>
          <a:endParaRPr lang="en-US"/>
        </a:p>
      </dgm:t>
    </dgm:pt>
    <dgm:pt modelId="{4E2851FE-16A2-4635-A362-FC9D76E3AD8A}">
      <dgm:prSet/>
      <dgm:spPr/>
      <dgm:t>
        <a:bodyPr/>
        <a:lstStyle/>
        <a:p>
          <a:r>
            <a:rPr lang="en-US" dirty="0" smtClean="0"/>
            <a:t>Operators</a:t>
          </a:r>
          <a:endParaRPr lang="en-US" dirty="0"/>
        </a:p>
      </dgm:t>
    </dgm:pt>
    <dgm:pt modelId="{DE77F4FE-3E11-4436-9CDD-954578CFC29C}" type="parTrans" cxnId="{315BDD34-8C4D-49DF-8167-9AF20F51E777}">
      <dgm:prSet/>
      <dgm:spPr/>
      <dgm:t>
        <a:bodyPr/>
        <a:lstStyle/>
        <a:p>
          <a:endParaRPr lang="en-US"/>
        </a:p>
      </dgm:t>
    </dgm:pt>
    <dgm:pt modelId="{388D4EED-8008-474D-A560-4950C3762FB0}" type="sibTrans" cxnId="{315BDD34-8C4D-49DF-8167-9AF20F51E777}">
      <dgm:prSet/>
      <dgm:spPr/>
      <dgm:t>
        <a:bodyPr/>
        <a:lstStyle/>
        <a:p>
          <a:endParaRPr lang="en-US"/>
        </a:p>
      </dgm:t>
    </dgm:pt>
    <dgm:pt modelId="{5B14674C-C108-4AFB-B819-6EEFED7E67A4}">
      <dgm:prSet/>
      <dgm:spPr/>
      <dgm:t>
        <a:bodyPr/>
        <a:lstStyle/>
        <a:p>
          <a:r>
            <a:rPr lang="en-US" dirty="0" smtClean="0"/>
            <a:t>Functions</a:t>
          </a:r>
          <a:endParaRPr lang="en-US" dirty="0"/>
        </a:p>
      </dgm:t>
    </dgm:pt>
    <dgm:pt modelId="{7E3AF0F5-F975-41D1-98F8-27E27015EF1F}" type="parTrans" cxnId="{0C53E3ED-6556-475B-B35B-5B6A2D7A08A4}">
      <dgm:prSet/>
      <dgm:spPr/>
      <dgm:t>
        <a:bodyPr/>
        <a:lstStyle/>
        <a:p>
          <a:endParaRPr lang="en-US"/>
        </a:p>
      </dgm:t>
    </dgm:pt>
    <dgm:pt modelId="{1A300EF5-1F67-4BFB-82E1-55D14354F369}" type="sibTrans" cxnId="{0C53E3ED-6556-475B-B35B-5B6A2D7A08A4}">
      <dgm:prSet/>
      <dgm:spPr/>
      <dgm:t>
        <a:bodyPr/>
        <a:lstStyle/>
        <a:p>
          <a:endParaRPr lang="en-US"/>
        </a:p>
      </dgm:t>
    </dgm:pt>
    <dgm:pt modelId="{6B9E1E95-9E69-4B10-B5D3-9D11035B2092}">
      <dgm:prSet/>
      <dgm:spPr/>
      <dgm:t>
        <a:bodyPr/>
        <a:lstStyle/>
        <a:p>
          <a:r>
            <a:rPr lang="en-US" dirty="0" smtClean="0"/>
            <a:t>Operators</a:t>
          </a:r>
          <a:endParaRPr lang="en-US" dirty="0"/>
        </a:p>
      </dgm:t>
    </dgm:pt>
    <dgm:pt modelId="{D0E49D65-BD7F-4FF1-BAC0-3983FAB192D8}" type="parTrans" cxnId="{A6DA31E9-4B61-4529-A004-98F236D619E2}">
      <dgm:prSet/>
      <dgm:spPr/>
      <dgm:t>
        <a:bodyPr/>
        <a:lstStyle/>
        <a:p>
          <a:endParaRPr lang="en-US"/>
        </a:p>
      </dgm:t>
    </dgm:pt>
    <dgm:pt modelId="{06BFD675-6846-418D-9E2C-7486C5682ACF}" type="sibTrans" cxnId="{A6DA31E9-4B61-4529-A004-98F236D619E2}">
      <dgm:prSet/>
      <dgm:spPr/>
      <dgm:t>
        <a:bodyPr/>
        <a:lstStyle/>
        <a:p>
          <a:endParaRPr lang="en-US"/>
        </a:p>
      </dgm:t>
    </dgm:pt>
    <dgm:pt modelId="{9D0C05AE-BE3D-485C-9366-FF5470129D4D}" type="pres">
      <dgm:prSet presAssocID="{9C184DE9-8641-4819-A5B7-135AF50A4DF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7A24C0A-C084-48C6-93DE-9380DA5329FF}" type="pres">
      <dgm:prSet presAssocID="{3BC04B6E-109C-495C-979C-3C08DA3C67C5}" presName="parentLin" presStyleCnt="0"/>
      <dgm:spPr/>
    </dgm:pt>
    <dgm:pt modelId="{1AD90067-313E-4CFD-A07B-2CC720537C6C}" type="pres">
      <dgm:prSet presAssocID="{3BC04B6E-109C-495C-979C-3C08DA3C67C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396C5890-DEB4-4D50-931A-781AC04E3AFA}" type="pres">
      <dgm:prSet presAssocID="{3BC04B6E-109C-495C-979C-3C08DA3C67C5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8CB118-74BF-4CAE-B722-827D1F24F5A3}" type="pres">
      <dgm:prSet presAssocID="{3BC04B6E-109C-495C-979C-3C08DA3C67C5}" presName="negativeSpace" presStyleCnt="0"/>
      <dgm:spPr/>
    </dgm:pt>
    <dgm:pt modelId="{FF7A81C4-4E78-4FF3-9722-92FC142E2827}" type="pres">
      <dgm:prSet presAssocID="{3BC04B6E-109C-495C-979C-3C08DA3C67C5}" presName="childText" presStyleLbl="conFgAcc1" presStyleIdx="0" presStyleCnt="3" custLinFactNeighborX="-3546" custLinFactNeighborY="1414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667D63-F674-4422-831C-3380D805C14F}" type="pres">
      <dgm:prSet presAssocID="{A927300A-DA4D-4EAA-AC0C-246A8AF534B7}" presName="spaceBetweenRectangles" presStyleCnt="0"/>
      <dgm:spPr/>
    </dgm:pt>
    <dgm:pt modelId="{C7DF1928-D820-4898-9D18-2BE4148E7888}" type="pres">
      <dgm:prSet presAssocID="{AF5C0667-0353-4DE9-A269-D4ECF0E6873C}" presName="parentLin" presStyleCnt="0"/>
      <dgm:spPr/>
    </dgm:pt>
    <dgm:pt modelId="{A68E75D6-54D7-4A33-B704-DE2B02D8658C}" type="pres">
      <dgm:prSet presAssocID="{AF5C0667-0353-4DE9-A269-D4ECF0E6873C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47F2CFBA-D2B7-4240-874F-24D0728D411A}" type="pres">
      <dgm:prSet presAssocID="{AF5C0667-0353-4DE9-A269-D4ECF0E6873C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5CD067-905F-4A12-A496-216585077F1F}" type="pres">
      <dgm:prSet presAssocID="{AF5C0667-0353-4DE9-A269-D4ECF0E6873C}" presName="negativeSpace" presStyleCnt="0"/>
      <dgm:spPr/>
    </dgm:pt>
    <dgm:pt modelId="{512A097E-51F8-4299-AF75-5CBB1138D4A4}" type="pres">
      <dgm:prSet presAssocID="{AF5C0667-0353-4DE9-A269-D4ECF0E6873C}" presName="childText" presStyleLbl="conFgAcc1" presStyleIdx="1" presStyleCnt="3" custLinFactNeighborX="-5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698F8A-4B0C-4DFC-B7F3-E3428ECB6A2F}" type="pres">
      <dgm:prSet presAssocID="{EDDC503A-896E-46E8-A0F3-2E4916F3BA48}" presName="spaceBetweenRectangles" presStyleCnt="0"/>
      <dgm:spPr/>
    </dgm:pt>
    <dgm:pt modelId="{D164A6C8-47A4-47E8-8AF0-20735D0B7833}" type="pres">
      <dgm:prSet presAssocID="{EDB6482E-BCF9-4D8E-A8ED-B5F5FE89504B}" presName="parentLin" presStyleCnt="0"/>
      <dgm:spPr/>
    </dgm:pt>
    <dgm:pt modelId="{85B338EA-90AF-440E-9611-9FF8E4859EA3}" type="pres">
      <dgm:prSet presAssocID="{EDB6482E-BCF9-4D8E-A8ED-B5F5FE89504B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59C5163B-2373-4042-8B40-369B8E0C656E}" type="pres">
      <dgm:prSet presAssocID="{EDB6482E-BCF9-4D8E-A8ED-B5F5FE89504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6F8368-5CFD-40F7-8B74-A599DA385A64}" type="pres">
      <dgm:prSet presAssocID="{EDB6482E-BCF9-4D8E-A8ED-B5F5FE89504B}" presName="negativeSpace" presStyleCnt="0"/>
      <dgm:spPr/>
    </dgm:pt>
    <dgm:pt modelId="{C895E17D-43C8-40ED-A4E0-607DD006E99A}" type="pres">
      <dgm:prSet presAssocID="{EDB6482E-BCF9-4D8E-A8ED-B5F5FE89504B}" presName="childText" presStyleLbl="conFgAcc1" presStyleIdx="2" presStyleCnt="3" custLinFactNeighborX="-5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3BDCE0C-31D0-47AB-959F-59BE2C3EEF16}" type="presOf" srcId="{9C184DE9-8641-4819-A5B7-135AF50A4DF5}" destId="{9D0C05AE-BE3D-485C-9366-FF5470129D4D}" srcOrd="0" destOrd="0" presId="urn:microsoft.com/office/officeart/2005/8/layout/list1"/>
    <dgm:cxn modelId="{D6A4225D-A56A-444A-AEA6-1FDD363326A2}" srcId="{9C184DE9-8641-4819-A5B7-135AF50A4DF5}" destId="{AF5C0667-0353-4DE9-A269-D4ECF0E6873C}" srcOrd="1" destOrd="0" parTransId="{981885C3-5809-4182-90F6-52F53F227894}" sibTransId="{EDDC503A-896E-46E8-A0F3-2E4916F3BA48}"/>
    <dgm:cxn modelId="{765E6684-E8F6-4918-8DE8-4A0F581A83E4}" srcId="{3BC04B6E-109C-495C-979C-3C08DA3C67C5}" destId="{9DCA860F-5632-4CFF-B63F-00E3514233BC}" srcOrd="0" destOrd="0" parTransId="{B5C3E50A-7F14-4BEA-8BF7-753B76488C40}" sibTransId="{3C443E20-A521-46D4-8581-956F0C4AFBCA}"/>
    <dgm:cxn modelId="{015ACE42-62C7-4C69-AD94-E87308AEFDC3}" type="presOf" srcId="{3BC04B6E-109C-495C-979C-3C08DA3C67C5}" destId="{1AD90067-313E-4CFD-A07B-2CC720537C6C}" srcOrd="0" destOrd="0" presId="urn:microsoft.com/office/officeart/2005/8/layout/list1"/>
    <dgm:cxn modelId="{AC731D4E-E879-4AF2-ABB9-5FD5512D3424}" type="presOf" srcId="{159123D2-2266-4964-9ADA-4D25F09C14D3}" destId="{FF7A81C4-4E78-4FF3-9722-92FC142E2827}" srcOrd="0" destOrd="1" presId="urn:microsoft.com/office/officeart/2005/8/layout/list1"/>
    <dgm:cxn modelId="{0517D37B-4D9F-4160-94C7-CBCD92DD4DB2}" srcId="{3BC04B6E-109C-495C-979C-3C08DA3C67C5}" destId="{159123D2-2266-4964-9ADA-4D25F09C14D3}" srcOrd="1" destOrd="0" parTransId="{40208FE0-BAD3-47BB-8E16-99806C4A3487}" sibTransId="{E850828E-C239-43F6-9101-3A3969E788B4}"/>
    <dgm:cxn modelId="{599945CF-C58D-455B-A100-39E779CA8A9A}" type="presOf" srcId="{EDB6482E-BCF9-4D8E-A8ED-B5F5FE89504B}" destId="{85B338EA-90AF-440E-9611-9FF8E4859EA3}" srcOrd="0" destOrd="0" presId="urn:microsoft.com/office/officeart/2005/8/layout/list1"/>
    <dgm:cxn modelId="{315BDD34-8C4D-49DF-8167-9AF20F51E777}" srcId="{EDB6482E-BCF9-4D8E-A8ED-B5F5FE89504B}" destId="{4E2851FE-16A2-4635-A362-FC9D76E3AD8A}" srcOrd="0" destOrd="0" parTransId="{DE77F4FE-3E11-4436-9CDD-954578CFC29C}" sibTransId="{388D4EED-8008-474D-A560-4950C3762FB0}"/>
    <dgm:cxn modelId="{6F91FD0C-88F8-4100-BE3A-CC3167EF1C93}" srcId="{9C184DE9-8641-4819-A5B7-135AF50A4DF5}" destId="{3BC04B6E-109C-495C-979C-3C08DA3C67C5}" srcOrd="0" destOrd="0" parTransId="{F102DCB3-42C5-4D97-8D27-68D1F956E154}" sibTransId="{A927300A-DA4D-4EAA-AC0C-246A8AF534B7}"/>
    <dgm:cxn modelId="{F3B0E175-D55D-4E53-A6BD-5080E12FCED4}" type="presOf" srcId="{5B14674C-C108-4AFB-B819-6EEFED7E67A4}" destId="{C895E17D-43C8-40ED-A4E0-607DD006E99A}" srcOrd="0" destOrd="1" presId="urn:microsoft.com/office/officeart/2005/8/layout/list1"/>
    <dgm:cxn modelId="{269FE841-4652-4CC7-AB87-DD0CE036C7C0}" type="presOf" srcId="{AF5C0667-0353-4DE9-A269-D4ECF0E6873C}" destId="{A68E75D6-54D7-4A33-B704-DE2B02D8658C}" srcOrd="0" destOrd="0" presId="urn:microsoft.com/office/officeart/2005/8/layout/list1"/>
    <dgm:cxn modelId="{0C53E3ED-6556-475B-B35B-5B6A2D7A08A4}" srcId="{EDB6482E-BCF9-4D8E-A8ED-B5F5FE89504B}" destId="{5B14674C-C108-4AFB-B819-6EEFED7E67A4}" srcOrd="1" destOrd="0" parTransId="{7E3AF0F5-F975-41D1-98F8-27E27015EF1F}" sibTransId="{1A300EF5-1F67-4BFB-82E1-55D14354F369}"/>
    <dgm:cxn modelId="{7FD35EFB-CD09-4B18-A8FD-7D092A4CBE3E}" type="presOf" srcId="{6B9E1E95-9E69-4B10-B5D3-9D11035B2092}" destId="{512A097E-51F8-4299-AF75-5CBB1138D4A4}" srcOrd="0" destOrd="0" presId="urn:microsoft.com/office/officeart/2005/8/layout/list1"/>
    <dgm:cxn modelId="{94969D3C-4C90-4E2F-85F7-ECF4C491473F}" type="presOf" srcId="{4E2851FE-16A2-4635-A362-FC9D76E3AD8A}" destId="{C895E17D-43C8-40ED-A4E0-607DD006E99A}" srcOrd="0" destOrd="0" presId="urn:microsoft.com/office/officeart/2005/8/layout/list1"/>
    <dgm:cxn modelId="{A6DA31E9-4B61-4529-A004-98F236D619E2}" srcId="{AF5C0667-0353-4DE9-A269-D4ECF0E6873C}" destId="{6B9E1E95-9E69-4B10-B5D3-9D11035B2092}" srcOrd="0" destOrd="0" parTransId="{D0E49D65-BD7F-4FF1-BAC0-3983FAB192D8}" sibTransId="{06BFD675-6846-418D-9E2C-7486C5682ACF}"/>
    <dgm:cxn modelId="{FDF261F1-61DC-4BEC-B618-43F7BD33469C}" type="presOf" srcId="{9DCA860F-5632-4CFF-B63F-00E3514233BC}" destId="{FF7A81C4-4E78-4FF3-9722-92FC142E2827}" srcOrd="0" destOrd="0" presId="urn:microsoft.com/office/officeart/2005/8/layout/list1"/>
    <dgm:cxn modelId="{B440D0FA-6D91-4A98-AFFA-369C4E483832}" type="presOf" srcId="{3BC04B6E-109C-495C-979C-3C08DA3C67C5}" destId="{396C5890-DEB4-4D50-931A-781AC04E3AFA}" srcOrd="1" destOrd="0" presId="urn:microsoft.com/office/officeart/2005/8/layout/list1"/>
    <dgm:cxn modelId="{7D28FB7C-05EE-45F5-A514-0A780A7FE103}" type="presOf" srcId="{EDB6482E-BCF9-4D8E-A8ED-B5F5FE89504B}" destId="{59C5163B-2373-4042-8B40-369B8E0C656E}" srcOrd="1" destOrd="0" presId="urn:microsoft.com/office/officeart/2005/8/layout/list1"/>
    <dgm:cxn modelId="{6EACDDC2-C6DB-4275-86A7-9D7D4FFC5F1E}" type="presOf" srcId="{AF5C0667-0353-4DE9-A269-D4ECF0E6873C}" destId="{47F2CFBA-D2B7-4240-874F-24D0728D411A}" srcOrd="1" destOrd="0" presId="urn:microsoft.com/office/officeart/2005/8/layout/list1"/>
    <dgm:cxn modelId="{D6465D17-A38C-4745-8090-C4E9D5660B3C}" srcId="{9C184DE9-8641-4819-A5B7-135AF50A4DF5}" destId="{EDB6482E-BCF9-4D8E-A8ED-B5F5FE89504B}" srcOrd="2" destOrd="0" parTransId="{9B864DFD-3A33-47A4-B5CF-279461F29400}" sibTransId="{3842ECF7-47C5-4D83-BC12-412CE8E4E3CC}"/>
    <dgm:cxn modelId="{CD35C000-C5FB-4F0F-AB7A-7DDF9937F317}" type="presParOf" srcId="{9D0C05AE-BE3D-485C-9366-FF5470129D4D}" destId="{77A24C0A-C084-48C6-93DE-9380DA5329FF}" srcOrd="0" destOrd="0" presId="urn:microsoft.com/office/officeart/2005/8/layout/list1"/>
    <dgm:cxn modelId="{5A57F6E4-504A-4BDD-BFB3-C733EF0D2AC3}" type="presParOf" srcId="{77A24C0A-C084-48C6-93DE-9380DA5329FF}" destId="{1AD90067-313E-4CFD-A07B-2CC720537C6C}" srcOrd="0" destOrd="0" presId="urn:microsoft.com/office/officeart/2005/8/layout/list1"/>
    <dgm:cxn modelId="{5EEA2214-12B6-4742-9DCA-C05CFF51B76E}" type="presParOf" srcId="{77A24C0A-C084-48C6-93DE-9380DA5329FF}" destId="{396C5890-DEB4-4D50-931A-781AC04E3AFA}" srcOrd="1" destOrd="0" presId="urn:microsoft.com/office/officeart/2005/8/layout/list1"/>
    <dgm:cxn modelId="{9F9D0C0C-7CF1-4F12-AC0D-5DD1F19B0963}" type="presParOf" srcId="{9D0C05AE-BE3D-485C-9366-FF5470129D4D}" destId="{E98CB118-74BF-4CAE-B722-827D1F24F5A3}" srcOrd="1" destOrd="0" presId="urn:microsoft.com/office/officeart/2005/8/layout/list1"/>
    <dgm:cxn modelId="{71094CEC-ADB3-4BD9-A9EB-B9E79810BF10}" type="presParOf" srcId="{9D0C05AE-BE3D-485C-9366-FF5470129D4D}" destId="{FF7A81C4-4E78-4FF3-9722-92FC142E2827}" srcOrd="2" destOrd="0" presId="urn:microsoft.com/office/officeart/2005/8/layout/list1"/>
    <dgm:cxn modelId="{F9203173-9425-41FA-AF03-D169150F8FCC}" type="presParOf" srcId="{9D0C05AE-BE3D-485C-9366-FF5470129D4D}" destId="{20667D63-F674-4422-831C-3380D805C14F}" srcOrd="3" destOrd="0" presId="urn:microsoft.com/office/officeart/2005/8/layout/list1"/>
    <dgm:cxn modelId="{21785094-B9A5-444D-80E6-7E9DC498BABA}" type="presParOf" srcId="{9D0C05AE-BE3D-485C-9366-FF5470129D4D}" destId="{C7DF1928-D820-4898-9D18-2BE4148E7888}" srcOrd="4" destOrd="0" presId="urn:microsoft.com/office/officeart/2005/8/layout/list1"/>
    <dgm:cxn modelId="{54FCFCF5-B066-45AB-9967-59470366EBFE}" type="presParOf" srcId="{C7DF1928-D820-4898-9D18-2BE4148E7888}" destId="{A68E75D6-54D7-4A33-B704-DE2B02D8658C}" srcOrd="0" destOrd="0" presId="urn:microsoft.com/office/officeart/2005/8/layout/list1"/>
    <dgm:cxn modelId="{54A9CA1D-C837-4229-A5C9-B494B13A3CFB}" type="presParOf" srcId="{C7DF1928-D820-4898-9D18-2BE4148E7888}" destId="{47F2CFBA-D2B7-4240-874F-24D0728D411A}" srcOrd="1" destOrd="0" presId="urn:microsoft.com/office/officeart/2005/8/layout/list1"/>
    <dgm:cxn modelId="{106F54C1-85E4-4464-82FC-6EEFC3A12AAD}" type="presParOf" srcId="{9D0C05AE-BE3D-485C-9366-FF5470129D4D}" destId="{855CD067-905F-4A12-A496-216585077F1F}" srcOrd="5" destOrd="0" presId="urn:microsoft.com/office/officeart/2005/8/layout/list1"/>
    <dgm:cxn modelId="{B306C3AD-38D1-4FA1-9DB0-0C7925A325CD}" type="presParOf" srcId="{9D0C05AE-BE3D-485C-9366-FF5470129D4D}" destId="{512A097E-51F8-4299-AF75-5CBB1138D4A4}" srcOrd="6" destOrd="0" presId="urn:microsoft.com/office/officeart/2005/8/layout/list1"/>
    <dgm:cxn modelId="{DB798A33-43B5-447C-87E7-BB928115DFD1}" type="presParOf" srcId="{9D0C05AE-BE3D-485C-9366-FF5470129D4D}" destId="{FD698F8A-4B0C-4DFC-B7F3-E3428ECB6A2F}" srcOrd="7" destOrd="0" presId="urn:microsoft.com/office/officeart/2005/8/layout/list1"/>
    <dgm:cxn modelId="{E2B9C449-AE5F-4B61-9FA7-B3CC0A4267E0}" type="presParOf" srcId="{9D0C05AE-BE3D-485C-9366-FF5470129D4D}" destId="{D164A6C8-47A4-47E8-8AF0-20735D0B7833}" srcOrd="8" destOrd="0" presId="urn:microsoft.com/office/officeart/2005/8/layout/list1"/>
    <dgm:cxn modelId="{9CCEBD9C-EA9E-475F-A478-ED4A2BA36093}" type="presParOf" srcId="{D164A6C8-47A4-47E8-8AF0-20735D0B7833}" destId="{85B338EA-90AF-440E-9611-9FF8E4859EA3}" srcOrd="0" destOrd="0" presId="urn:microsoft.com/office/officeart/2005/8/layout/list1"/>
    <dgm:cxn modelId="{3C40F61E-E1D1-43EE-9641-D37D4E4615ED}" type="presParOf" srcId="{D164A6C8-47A4-47E8-8AF0-20735D0B7833}" destId="{59C5163B-2373-4042-8B40-369B8E0C656E}" srcOrd="1" destOrd="0" presId="urn:microsoft.com/office/officeart/2005/8/layout/list1"/>
    <dgm:cxn modelId="{8AFECF0F-BD80-471D-BF64-D1EE40DF0C17}" type="presParOf" srcId="{9D0C05AE-BE3D-485C-9366-FF5470129D4D}" destId="{E56F8368-5CFD-40F7-8B74-A599DA385A64}" srcOrd="9" destOrd="0" presId="urn:microsoft.com/office/officeart/2005/8/layout/list1"/>
    <dgm:cxn modelId="{B9870797-2E92-4674-A26E-8518D9CB8B6A}" type="presParOf" srcId="{9D0C05AE-BE3D-485C-9366-FF5470129D4D}" destId="{C895E17D-43C8-40ED-A4E0-607DD006E99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FD8754E-0537-4227-BE01-40D467B831BD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9F7D02-8CC0-49C4-9660-D76F3DBACA39}">
      <dgm:prSet phldrT="[Text]"/>
      <dgm:spPr/>
      <dgm:t>
        <a:bodyPr/>
        <a:lstStyle/>
        <a:p>
          <a:r>
            <a:rPr lang="en-US" dirty="0" smtClean="0"/>
            <a:t>List</a:t>
          </a:r>
          <a:endParaRPr lang="en-US" dirty="0"/>
        </a:p>
      </dgm:t>
    </dgm:pt>
    <dgm:pt modelId="{6B97FC81-497D-4709-96EA-627987AFE272}" type="parTrans" cxnId="{E73931E5-F67E-4851-B6F9-B332FC4C7C88}">
      <dgm:prSet/>
      <dgm:spPr/>
      <dgm:t>
        <a:bodyPr/>
        <a:lstStyle/>
        <a:p>
          <a:endParaRPr lang="en-US"/>
        </a:p>
      </dgm:t>
    </dgm:pt>
    <dgm:pt modelId="{02F10FD7-C2A4-4D60-93A7-18A875B5A2D1}" type="sibTrans" cxnId="{E73931E5-F67E-4851-B6F9-B332FC4C7C88}">
      <dgm:prSet/>
      <dgm:spPr/>
      <dgm:t>
        <a:bodyPr/>
        <a:lstStyle/>
        <a:p>
          <a:endParaRPr lang="en-US"/>
        </a:p>
      </dgm:t>
    </dgm:pt>
    <dgm:pt modelId="{097BE58E-2F8D-44DB-90A8-020F9D8F2CFE}">
      <dgm:prSet phldrT="[Text]"/>
      <dgm:spPr/>
      <dgm:t>
        <a:bodyPr/>
        <a:lstStyle/>
        <a:p>
          <a:r>
            <a:rPr lang="en-US" dirty="0" smtClean="0"/>
            <a:t>Tuple</a:t>
          </a:r>
          <a:endParaRPr lang="en-US" dirty="0"/>
        </a:p>
      </dgm:t>
    </dgm:pt>
    <dgm:pt modelId="{106345FC-82E2-46B5-B54F-790D1A4065E3}" type="parTrans" cxnId="{E813206E-2508-4E2B-A953-B33DBDA47399}">
      <dgm:prSet/>
      <dgm:spPr/>
      <dgm:t>
        <a:bodyPr/>
        <a:lstStyle/>
        <a:p>
          <a:endParaRPr lang="en-US"/>
        </a:p>
      </dgm:t>
    </dgm:pt>
    <dgm:pt modelId="{23653663-8088-4DB7-B70D-32125905BA4C}" type="sibTrans" cxnId="{E813206E-2508-4E2B-A953-B33DBDA47399}">
      <dgm:prSet/>
      <dgm:spPr/>
      <dgm:t>
        <a:bodyPr/>
        <a:lstStyle/>
        <a:p>
          <a:endParaRPr lang="en-US"/>
        </a:p>
      </dgm:t>
    </dgm:pt>
    <dgm:pt modelId="{21C3C0CD-9AE3-4E3F-BF8B-5ABF3157CFD2}">
      <dgm:prSet phldrT="[Text]"/>
      <dgm:spPr/>
      <dgm:t>
        <a:bodyPr/>
        <a:lstStyle/>
        <a:p>
          <a:r>
            <a:rPr lang="en-US" dirty="0" smtClean="0"/>
            <a:t>Set</a:t>
          </a:r>
          <a:endParaRPr lang="en-US" dirty="0"/>
        </a:p>
      </dgm:t>
    </dgm:pt>
    <dgm:pt modelId="{3105ED30-A48C-4D1E-9B9D-11F4AE2D80F7}" type="parTrans" cxnId="{B7D1D8BE-9115-4A6F-828D-73EF92FDC2A0}">
      <dgm:prSet/>
      <dgm:spPr/>
      <dgm:t>
        <a:bodyPr/>
        <a:lstStyle/>
        <a:p>
          <a:endParaRPr lang="en-US"/>
        </a:p>
      </dgm:t>
    </dgm:pt>
    <dgm:pt modelId="{B75F6F4A-46B6-44FD-BADE-8EA3CFC721A3}" type="sibTrans" cxnId="{B7D1D8BE-9115-4A6F-828D-73EF92FDC2A0}">
      <dgm:prSet/>
      <dgm:spPr/>
      <dgm:t>
        <a:bodyPr/>
        <a:lstStyle/>
        <a:p>
          <a:endParaRPr lang="en-US"/>
        </a:p>
      </dgm:t>
    </dgm:pt>
    <dgm:pt modelId="{C556DDAA-D743-4B24-A310-08233BE2EA55}">
      <dgm:prSet phldrT="[Text]"/>
      <dgm:spPr/>
      <dgm:t>
        <a:bodyPr/>
        <a:lstStyle/>
        <a:p>
          <a:r>
            <a:rPr lang="en-US" dirty="0" smtClean="0"/>
            <a:t>Data Type Conversion</a:t>
          </a:r>
          <a:endParaRPr lang="en-US" dirty="0"/>
        </a:p>
      </dgm:t>
    </dgm:pt>
    <dgm:pt modelId="{FF77415C-EB06-4E10-9787-D634F1AA8727}" type="parTrans" cxnId="{29B431E2-F6F1-4E0A-BDAB-C3FB06B9DEF0}">
      <dgm:prSet/>
      <dgm:spPr/>
      <dgm:t>
        <a:bodyPr/>
        <a:lstStyle/>
        <a:p>
          <a:endParaRPr lang="en-US"/>
        </a:p>
      </dgm:t>
    </dgm:pt>
    <dgm:pt modelId="{A32A9A4A-FB47-45A2-88B2-643ED52DF5D8}" type="sibTrans" cxnId="{29B431E2-F6F1-4E0A-BDAB-C3FB06B9DEF0}">
      <dgm:prSet/>
      <dgm:spPr/>
      <dgm:t>
        <a:bodyPr/>
        <a:lstStyle/>
        <a:p>
          <a:endParaRPr lang="en-US"/>
        </a:p>
      </dgm:t>
    </dgm:pt>
    <dgm:pt modelId="{8534E40C-1798-4E9A-A31F-5D14E19BFD9A}">
      <dgm:prSet phldrT="[Text]"/>
      <dgm:spPr/>
      <dgm:t>
        <a:bodyPr/>
        <a:lstStyle/>
        <a:p>
          <a:r>
            <a:rPr lang="en-US" dirty="0" smtClean="0"/>
            <a:t>Dictionary</a:t>
          </a:r>
          <a:endParaRPr lang="en-US" dirty="0"/>
        </a:p>
      </dgm:t>
    </dgm:pt>
    <dgm:pt modelId="{95C14A70-1FEC-40D2-ABA0-8B1B0157FAEB}" type="sibTrans" cxnId="{2E62EDAA-5E0C-4D81-BBEC-17C0D8C0A9F7}">
      <dgm:prSet/>
      <dgm:spPr/>
      <dgm:t>
        <a:bodyPr/>
        <a:lstStyle/>
        <a:p>
          <a:endParaRPr lang="en-US"/>
        </a:p>
      </dgm:t>
    </dgm:pt>
    <dgm:pt modelId="{C3F9949A-50D6-48F6-A51A-DCBBA5645F72}" type="parTrans" cxnId="{2E62EDAA-5E0C-4D81-BBEC-17C0D8C0A9F7}">
      <dgm:prSet/>
      <dgm:spPr/>
      <dgm:t>
        <a:bodyPr/>
        <a:lstStyle/>
        <a:p>
          <a:endParaRPr lang="en-US"/>
        </a:p>
      </dgm:t>
    </dgm:pt>
    <dgm:pt modelId="{E83DB176-244F-47E7-918F-286573AD2060}" type="pres">
      <dgm:prSet presAssocID="{FFD8754E-0537-4227-BE01-40D467B831B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239302-E651-4613-A6A6-D5FA2236F82F}" type="pres">
      <dgm:prSet presAssocID="{189F7D02-8CC0-49C4-9660-D76F3DBACA39}" presName="parentLin" presStyleCnt="0"/>
      <dgm:spPr/>
    </dgm:pt>
    <dgm:pt modelId="{02DE3EF7-62C6-4525-AC7A-78DF4986E20E}" type="pres">
      <dgm:prSet presAssocID="{189F7D02-8CC0-49C4-9660-D76F3DBACA39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578B968-9BD2-400E-9864-5B072148EEAB}" type="pres">
      <dgm:prSet presAssocID="{189F7D02-8CC0-49C4-9660-D76F3DBACA39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2D2915-6394-4355-A7D4-19D8B4D4041D}" type="pres">
      <dgm:prSet presAssocID="{189F7D02-8CC0-49C4-9660-D76F3DBACA39}" presName="negativeSpace" presStyleCnt="0"/>
      <dgm:spPr/>
    </dgm:pt>
    <dgm:pt modelId="{8727FB9D-B954-473D-85DD-E7525DE5958A}" type="pres">
      <dgm:prSet presAssocID="{189F7D02-8CC0-49C4-9660-D76F3DBACA39}" presName="childText" presStyleLbl="conFgAcc1" presStyleIdx="0" presStyleCnt="5">
        <dgm:presLayoutVars>
          <dgm:bulletEnabled val="1"/>
        </dgm:presLayoutVars>
      </dgm:prSet>
      <dgm:spPr/>
    </dgm:pt>
    <dgm:pt modelId="{CCCCFF33-EFD5-46B4-99BA-FAB50CAD2BC2}" type="pres">
      <dgm:prSet presAssocID="{02F10FD7-C2A4-4D60-93A7-18A875B5A2D1}" presName="spaceBetweenRectangles" presStyleCnt="0"/>
      <dgm:spPr/>
    </dgm:pt>
    <dgm:pt modelId="{8F1FD988-B7E0-4E7A-8070-5918729F5FA5}" type="pres">
      <dgm:prSet presAssocID="{097BE58E-2F8D-44DB-90A8-020F9D8F2CFE}" presName="parentLin" presStyleCnt="0"/>
      <dgm:spPr/>
    </dgm:pt>
    <dgm:pt modelId="{291EB2CA-39C2-40E8-8450-DB8F650088E3}" type="pres">
      <dgm:prSet presAssocID="{097BE58E-2F8D-44DB-90A8-020F9D8F2CF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BDCBF6EA-FE6B-4828-A392-5FBD83B78F52}" type="pres">
      <dgm:prSet presAssocID="{097BE58E-2F8D-44DB-90A8-020F9D8F2CFE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0A0264-AEC3-471B-9B39-EC70711D3022}" type="pres">
      <dgm:prSet presAssocID="{097BE58E-2F8D-44DB-90A8-020F9D8F2CFE}" presName="negativeSpace" presStyleCnt="0"/>
      <dgm:spPr/>
    </dgm:pt>
    <dgm:pt modelId="{322629B7-555B-4B35-BD08-EC2D75DD5F76}" type="pres">
      <dgm:prSet presAssocID="{097BE58E-2F8D-44DB-90A8-020F9D8F2CFE}" presName="childText" presStyleLbl="conFgAcc1" presStyleIdx="1" presStyleCnt="5">
        <dgm:presLayoutVars>
          <dgm:bulletEnabled val="1"/>
        </dgm:presLayoutVars>
      </dgm:prSet>
      <dgm:spPr/>
    </dgm:pt>
    <dgm:pt modelId="{8A6B83D3-9A40-48CA-A9FD-8D55201E133E}" type="pres">
      <dgm:prSet presAssocID="{23653663-8088-4DB7-B70D-32125905BA4C}" presName="spaceBetweenRectangles" presStyleCnt="0"/>
      <dgm:spPr/>
    </dgm:pt>
    <dgm:pt modelId="{B68063D1-622C-473B-B148-A34949182A68}" type="pres">
      <dgm:prSet presAssocID="{8534E40C-1798-4E9A-A31F-5D14E19BFD9A}" presName="parentLin" presStyleCnt="0"/>
      <dgm:spPr/>
    </dgm:pt>
    <dgm:pt modelId="{92915D60-63D8-4D9F-B914-69CDDF75094C}" type="pres">
      <dgm:prSet presAssocID="{8534E40C-1798-4E9A-A31F-5D14E19BFD9A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30BB325C-62DB-4127-88D6-C726AB622363}" type="pres">
      <dgm:prSet presAssocID="{8534E40C-1798-4E9A-A31F-5D14E19BFD9A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EC8733-C5C3-4EC1-81C1-9E394C02CFE4}" type="pres">
      <dgm:prSet presAssocID="{8534E40C-1798-4E9A-A31F-5D14E19BFD9A}" presName="negativeSpace" presStyleCnt="0"/>
      <dgm:spPr/>
    </dgm:pt>
    <dgm:pt modelId="{81E99642-90B1-41E0-8236-076D3FD4338D}" type="pres">
      <dgm:prSet presAssocID="{8534E40C-1798-4E9A-A31F-5D14E19BFD9A}" presName="childText" presStyleLbl="conFgAcc1" presStyleIdx="2" presStyleCnt="5">
        <dgm:presLayoutVars>
          <dgm:bulletEnabled val="1"/>
        </dgm:presLayoutVars>
      </dgm:prSet>
      <dgm:spPr/>
    </dgm:pt>
    <dgm:pt modelId="{D66DC880-BD38-413D-85AC-131CB64AF8A2}" type="pres">
      <dgm:prSet presAssocID="{95C14A70-1FEC-40D2-ABA0-8B1B0157FAEB}" presName="spaceBetweenRectangles" presStyleCnt="0"/>
      <dgm:spPr/>
    </dgm:pt>
    <dgm:pt modelId="{0C1F1992-A9C2-4CBF-98B8-446324E8794D}" type="pres">
      <dgm:prSet presAssocID="{21C3C0CD-9AE3-4E3F-BF8B-5ABF3157CFD2}" presName="parentLin" presStyleCnt="0"/>
      <dgm:spPr/>
    </dgm:pt>
    <dgm:pt modelId="{CC240EF9-83EF-47F2-86F7-9E606F28F220}" type="pres">
      <dgm:prSet presAssocID="{21C3C0CD-9AE3-4E3F-BF8B-5ABF3157CFD2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15F2F055-C37D-4704-A298-9E7EA89D6720}" type="pres">
      <dgm:prSet presAssocID="{21C3C0CD-9AE3-4E3F-BF8B-5ABF3157CFD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B5B674-08E1-4F83-87DE-DDAA2B153A3C}" type="pres">
      <dgm:prSet presAssocID="{21C3C0CD-9AE3-4E3F-BF8B-5ABF3157CFD2}" presName="negativeSpace" presStyleCnt="0"/>
      <dgm:spPr/>
    </dgm:pt>
    <dgm:pt modelId="{A843E8B9-A2D7-417F-AA6B-4AFB18D8AF61}" type="pres">
      <dgm:prSet presAssocID="{21C3C0CD-9AE3-4E3F-BF8B-5ABF3157CFD2}" presName="childText" presStyleLbl="conFgAcc1" presStyleIdx="3" presStyleCnt="5">
        <dgm:presLayoutVars>
          <dgm:bulletEnabled val="1"/>
        </dgm:presLayoutVars>
      </dgm:prSet>
      <dgm:spPr/>
    </dgm:pt>
    <dgm:pt modelId="{065839DE-C1E3-4A67-A42B-A0A09A778139}" type="pres">
      <dgm:prSet presAssocID="{B75F6F4A-46B6-44FD-BADE-8EA3CFC721A3}" presName="spaceBetweenRectangles" presStyleCnt="0"/>
      <dgm:spPr/>
    </dgm:pt>
    <dgm:pt modelId="{133F14EA-7231-4B0E-97C9-E1B063D31022}" type="pres">
      <dgm:prSet presAssocID="{C556DDAA-D743-4B24-A310-08233BE2EA55}" presName="parentLin" presStyleCnt="0"/>
      <dgm:spPr/>
    </dgm:pt>
    <dgm:pt modelId="{E7C75149-F468-41C7-BC00-A83B86A96EEF}" type="pres">
      <dgm:prSet presAssocID="{C556DDAA-D743-4B24-A310-08233BE2EA55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3BFB77A7-1102-47F6-AD21-2CBD58F886C5}" type="pres">
      <dgm:prSet presAssocID="{C556DDAA-D743-4B24-A310-08233BE2EA55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7EFF89-BBCB-4F15-9066-86A5E903DBF3}" type="pres">
      <dgm:prSet presAssocID="{C556DDAA-D743-4B24-A310-08233BE2EA55}" presName="negativeSpace" presStyleCnt="0"/>
      <dgm:spPr/>
    </dgm:pt>
    <dgm:pt modelId="{32B5E1DA-CDE4-4895-B261-85C6A5E50527}" type="pres">
      <dgm:prSet presAssocID="{C556DDAA-D743-4B24-A310-08233BE2EA55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17DB7AC5-B833-4175-B81F-2E5442F82E82}" type="presOf" srcId="{097BE58E-2F8D-44DB-90A8-020F9D8F2CFE}" destId="{BDCBF6EA-FE6B-4828-A392-5FBD83B78F52}" srcOrd="1" destOrd="0" presId="urn:microsoft.com/office/officeart/2005/8/layout/list1"/>
    <dgm:cxn modelId="{29B431E2-F6F1-4E0A-BDAB-C3FB06B9DEF0}" srcId="{FFD8754E-0537-4227-BE01-40D467B831BD}" destId="{C556DDAA-D743-4B24-A310-08233BE2EA55}" srcOrd="4" destOrd="0" parTransId="{FF77415C-EB06-4E10-9787-D634F1AA8727}" sibTransId="{A32A9A4A-FB47-45A2-88B2-643ED52DF5D8}"/>
    <dgm:cxn modelId="{5FD29717-CAE6-4C51-83C0-9634D047AB48}" type="presOf" srcId="{8534E40C-1798-4E9A-A31F-5D14E19BFD9A}" destId="{92915D60-63D8-4D9F-B914-69CDDF75094C}" srcOrd="0" destOrd="0" presId="urn:microsoft.com/office/officeart/2005/8/layout/list1"/>
    <dgm:cxn modelId="{E73931E5-F67E-4851-B6F9-B332FC4C7C88}" srcId="{FFD8754E-0537-4227-BE01-40D467B831BD}" destId="{189F7D02-8CC0-49C4-9660-D76F3DBACA39}" srcOrd="0" destOrd="0" parTransId="{6B97FC81-497D-4709-96EA-627987AFE272}" sibTransId="{02F10FD7-C2A4-4D60-93A7-18A875B5A2D1}"/>
    <dgm:cxn modelId="{62FF1F90-C005-4D72-8FA6-280EAD9122E8}" type="presOf" srcId="{189F7D02-8CC0-49C4-9660-D76F3DBACA39}" destId="{8578B968-9BD2-400E-9864-5B072148EEAB}" srcOrd="1" destOrd="0" presId="urn:microsoft.com/office/officeart/2005/8/layout/list1"/>
    <dgm:cxn modelId="{8C23A0C8-FB1E-4C6E-8570-6A3A0CB9B81C}" type="presOf" srcId="{C556DDAA-D743-4B24-A310-08233BE2EA55}" destId="{E7C75149-F468-41C7-BC00-A83B86A96EEF}" srcOrd="0" destOrd="0" presId="urn:microsoft.com/office/officeart/2005/8/layout/list1"/>
    <dgm:cxn modelId="{2E62EDAA-5E0C-4D81-BBEC-17C0D8C0A9F7}" srcId="{FFD8754E-0537-4227-BE01-40D467B831BD}" destId="{8534E40C-1798-4E9A-A31F-5D14E19BFD9A}" srcOrd="2" destOrd="0" parTransId="{C3F9949A-50D6-48F6-A51A-DCBBA5645F72}" sibTransId="{95C14A70-1FEC-40D2-ABA0-8B1B0157FAEB}"/>
    <dgm:cxn modelId="{AF3E7E89-977F-4407-BCB1-5A9A4ACF86DA}" type="presOf" srcId="{21C3C0CD-9AE3-4E3F-BF8B-5ABF3157CFD2}" destId="{CC240EF9-83EF-47F2-86F7-9E606F28F220}" srcOrd="0" destOrd="0" presId="urn:microsoft.com/office/officeart/2005/8/layout/list1"/>
    <dgm:cxn modelId="{B305604F-A0E7-476B-BA82-1318C34073F3}" type="presOf" srcId="{8534E40C-1798-4E9A-A31F-5D14E19BFD9A}" destId="{30BB325C-62DB-4127-88D6-C726AB622363}" srcOrd="1" destOrd="0" presId="urn:microsoft.com/office/officeart/2005/8/layout/list1"/>
    <dgm:cxn modelId="{D2868B74-5970-48F2-944C-5321C5A26A0F}" type="presOf" srcId="{097BE58E-2F8D-44DB-90A8-020F9D8F2CFE}" destId="{291EB2CA-39C2-40E8-8450-DB8F650088E3}" srcOrd="0" destOrd="0" presId="urn:microsoft.com/office/officeart/2005/8/layout/list1"/>
    <dgm:cxn modelId="{E282429F-4257-4E0C-B11F-234F4C4A3B26}" type="presOf" srcId="{C556DDAA-D743-4B24-A310-08233BE2EA55}" destId="{3BFB77A7-1102-47F6-AD21-2CBD58F886C5}" srcOrd="1" destOrd="0" presId="urn:microsoft.com/office/officeart/2005/8/layout/list1"/>
    <dgm:cxn modelId="{E813206E-2508-4E2B-A953-B33DBDA47399}" srcId="{FFD8754E-0537-4227-BE01-40D467B831BD}" destId="{097BE58E-2F8D-44DB-90A8-020F9D8F2CFE}" srcOrd="1" destOrd="0" parTransId="{106345FC-82E2-46B5-B54F-790D1A4065E3}" sibTransId="{23653663-8088-4DB7-B70D-32125905BA4C}"/>
    <dgm:cxn modelId="{E195D0BC-4AA5-47DC-8431-CE99491B1564}" type="presOf" srcId="{189F7D02-8CC0-49C4-9660-D76F3DBACA39}" destId="{02DE3EF7-62C6-4525-AC7A-78DF4986E20E}" srcOrd="0" destOrd="0" presId="urn:microsoft.com/office/officeart/2005/8/layout/list1"/>
    <dgm:cxn modelId="{B7D1D8BE-9115-4A6F-828D-73EF92FDC2A0}" srcId="{FFD8754E-0537-4227-BE01-40D467B831BD}" destId="{21C3C0CD-9AE3-4E3F-BF8B-5ABF3157CFD2}" srcOrd="3" destOrd="0" parTransId="{3105ED30-A48C-4D1E-9B9D-11F4AE2D80F7}" sibTransId="{B75F6F4A-46B6-44FD-BADE-8EA3CFC721A3}"/>
    <dgm:cxn modelId="{8E760F57-03F2-4AAA-9E6D-DB05483BF4DC}" type="presOf" srcId="{FFD8754E-0537-4227-BE01-40D467B831BD}" destId="{E83DB176-244F-47E7-918F-286573AD2060}" srcOrd="0" destOrd="0" presId="urn:microsoft.com/office/officeart/2005/8/layout/list1"/>
    <dgm:cxn modelId="{47231E63-F85A-4985-B0AC-361CE0FBB4D1}" type="presOf" srcId="{21C3C0CD-9AE3-4E3F-BF8B-5ABF3157CFD2}" destId="{15F2F055-C37D-4704-A298-9E7EA89D6720}" srcOrd="1" destOrd="0" presId="urn:microsoft.com/office/officeart/2005/8/layout/list1"/>
    <dgm:cxn modelId="{351ED2CC-A61A-462F-8946-FB6B94599BEC}" type="presParOf" srcId="{E83DB176-244F-47E7-918F-286573AD2060}" destId="{70239302-E651-4613-A6A6-D5FA2236F82F}" srcOrd="0" destOrd="0" presId="urn:microsoft.com/office/officeart/2005/8/layout/list1"/>
    <dgm:cxn modelId="{3BE9756F-23C2-4936-AEB0-55C459CD11EE}" type="presParOf" srcId="{70239302-E651-4613-A6A6-D5FA2236F82F}" destId="{02DE3EF7-62C6-4525-AC7A-78DF4986E20E}" srcOrd="0" destOrd="0" presId="urn:microsoft.com/office/officeart/2005/8/layout/list1"/>
    <dgm:cxn modelId="{57EE93E8-9DC4-4C1F-B8FE-3739E483572E}" type="presParOf" srcId="{70239302-E651-4613-A6A6-D5FA2236F82F}" destId="{8578B968-9BD2-400E-9864-5B072148EEAB}" srcOrd="1" destOrd="0" presId="urn:microsoft.com/office/officeart/2005/8/layout/list1"/>
    <dgm:cxn modelId="{D3AB8DBD-3387-421C-9665-DC414D2E8213}" type="presParOf" srcId="{E83DB176-244F-47E7-918F-286573AD2060}" destId="{242D2915-6394-4355-A7D4-19D8B4D4041D}" srcOrd="1" destOrd="0" presId="urn:microsoft.com/office/officeart/2005/8/layout/list1"/>
    <dgm:cxn modelId="{B7BF9A94-FAD8-4265-98C0-BAE138EA9490}" type="presParOf" srcId="{E83DB176-244F-47E7-918F-286573AD2060}" destId="{8727FB9D-B954-473D-85DD-E7525DE5958A}" srcOrd="2" destOrd="0" presId="urn:microsoft.com/office/officeart/2005/8/layout/list1"/>
    <dgm:cxn modelId="{CED4EA5B-0400-425D-8C46-E28C822BC133}" type="presParOf" srcId="{E83DB176-244F-47E7-918F-286573AD2060}" destId="{CCCCFF33-EFD5-46B4-99BA-FAB50CAD2BC2}" srcOrd="3" destOrd="0" presId="urn:microsoft.com/office/officeart/2005/8/layout/list1"/>
    <dgm:cxn modelId="{EC5FDE6A-D806-4B27-9D40-EBEA16195F02}" type="presParOf" srcId="{E83DB176-244F-47E7-918F-286573AD2060}" destId="{8F1FD988-B7E0-4E7A-8070-5918729F5FA5}" srcOrd="4" destOrd="0" presId="urn:microsoft.com/office/officeart/2005/8/layout/list1"/>
    <dgm:cxn modelId="{3A752422-C729-4EA4-B58A-FA8DD1613D3C}" type="presParOf" srcId="{8F1FD988-B7E0-4E7A-8070-5918729F5FA5}" destId="{291EB2CA-39C2-40E8-8450-DB8F650088E3}" srcOrd="0" destOrd="0" presId="urn:microsoft.com/office/officeart/2005/8/layout/list1"/>
    <dgm:cxn modelId="{1C5AE5CD-9E2E-4B5C-BF03-E1D8881831BC}" type="presParOf" srcId="{8F1FD988-B7E0-4E7A-8070-5918729F5FA5}" destId="{BDCBF6EA-FE6B-4828-A392-5FBD83B78F52}" srcOrd="1" destOrd="0" presId="urn:microsoft.com/office/officeart/2005/8/layout/list1"/>
    <dgm:cxn modelId="{3274B96F-7577-4EE0-AC05-89704350DA12}" type="presParOf" srcId="{E83DB176-244F-47E7-918F-286573AD2060}" destId="{130A0264-AEC3-471B-9B39-EC70711D3022}" srcOrd="5" destOrd="0" presId="urn:microsoft.com/office/officeart/2005/8/layout/list1"/>
    <dgm:cxn modelId="{BE3B0485-ABB5-4DEA-A045-B98A5B4A92CF}" type="presParOf" srcId="{E83DB176-244F-47E7-918F-286573AD2060}" destId="{322629B7-555B-4B35-BD08-EC2D75DD5F76}" srcOrd="6" destOrd="0" presId="urn:microsoft.com/office/officeart/2005/8/layout/list1"/>
    <dgm:cxn modelId="{AFC52973-DAD5-4D44-A83A-935E60C28AF4}" type="presParOf" srcId="{E83DB176-244F-47E7-918F-286573AD2060}" destId="{8A6B83D3-9A40-48CA-A9FD-8D55201E133E}" srcOrd="7" destOrd="0" presId="urn:microsoft.com/office/officeart/2005/8/layout/list1"/>
    <dgm:cxn modelId="{6E859751-ACC2-4AAC-8541-3949E1F99CF1}" type="presParOf" srcId="{E83DB176-244F-47E7-918F-286573AD2060}" destId="{B68063D1-622C-473B-B148-A34949182A68}" srcOrd="8" destOrd="0" presId="urn:microsoft.com/office/officeart/2005/8/layout/list1"/>
    <dgm:cxn modelId="{5DE7957D-05B7-401F-8D09-D358DAD0B081}" type="presParOf" srcId="{B68063D1-622C-473B-B148-A34949182A68}" destId="{92915D60-63D8-4D9F-B914-69CDDF75094C}" srcOrd="0" destOrd="0" presId="urn:microsoft.com/office/officeart/2005/8/layout/list1"/>
    <dgm:cxn modelId="{2F2906F9-23FD-4EB8-BA33-40E499E9637C}" type="presParOf" srcId="{B68063D1-622C-473B-B148-A34949182A68}" destId="{30BB325C-62DB-4127-88D6-C726AB622363}" srcOrd="1" destOrd="0" presId="urn:microsoft.com/office/officeart/2005/8/layout/list1"/>
    <dgm:cxn modelId="{4CF873BB-EFA1-4E2B-9FBE-F938B52D6A1D}" type="presParOf" srcId="{E83DB176-244F-47E7-918F-286573AD2060}" destId="{7FEC8733-C5C3-4EC1-81C1-9E394C02CFE4}" srcOrd="9" destOrd="0" presId="urn:microsoft.com/office/officeart/2005/8/layout/list1"/>
    <dgm:cxn modelId="{10B9D6FF-995B-4482-B58A-58DF99F86A67}" type="presParOf" srcId="{E83DB176-244F-47E7-918F-286573AD2060}" destId="{81E99642-90B1-41E0-8236-076D3FD4338D}" srcOrd="10" destOrd="0" presId="urn:microsoft.com/office/officeart/2005/8/layout/list1"/>
    <dgm:cxn modelId="{7B695E03-4B27-4C07-86F0-D77AB821199E}" type="presParOf" srcId="{E83DB176-244F-47E7-918F-286573AD2060}" destId="{D66DC880-BD38-413D-85AC-131CB64AF8A2}" srcOrd="11" destOrd="0" presId="urn:microsoft.com/office/officeart/2005/8/layout/list1"/>
    <dgm:cxn modelId="{328977B2-36EA-48CE-99F3-59AC88B04A95}" type="presParOf" srcId="{E83DB176-244F-47E7-918F-286573AD2060}" destId="{0C1F1992-A9C2-4CBF-98B8-446324E8794D}" srcOrd="12" destOrd="0" presId="urn:microsoft.com/office/officeart/2005/8/layout/list1"/>
    <dgm:cxn modelId="{450CB5E6-99E5-4BD8-A676-44F99537551A}" type="presParOf" srcId="{0C1F1992-A9C2-4CBF-98B8-446324E8794D}" destId="{CC240EF9-83EF-47F2-86F7-9E606F28F220}" srcOrd="0" destOrd="0" presId="urn:microsoft.com/office/officeart/2005/8/layout/list1"/>
    <dgm:cxn modelId="{3412233B-B641-4755-B546-5309A0E58727}" type="presParOf" srcId="{0C1F1992-A9C2-4CBF-98B8-446324E8794D}" destId="{15F2F055-C37D-4704-A298-9E7EA89D6720}" srcOrd="1" destOrd="0" presId="urn:microsoft.com/office/officeart/2005/8/layout/list1"/>
    <dgm:cxn modelId="{5FF317DE-B2FB-49F1-9FB0-93F08FAE8C89}" type="presParOf" srcId="{E83DB176-244F-47E7-918F-286573AD2060}" destId="{39B5B674-08E1-4F83-87DE-DDAA2B153A3C}" srcOrd="13" destOrd="0" presId="urn:microsoft.com/office/officeart/2005/8/layout/list1"/>
    <dgm:cxn modelId="{7F3B772E-A89C-417D-BD2F-1E98445E65ED}" type="presParOf" srcId="{E83DB176-244F-47E7-918F-286573AD2060}" destId="{A843E8B9-A2D7-417F-AA6B-4AFB18D8AF61}" srcOrd="14" destOrd="0" presId="urn:microsoft.com/office/officeart/2005/8/layout/list1"/>
    <dgm:cxn modelId="{CF538EB3-1354-40FC-818B-BFD96C71B536}" type="presParOf" srcId="{E83DB176-244F-47E7-918F-286573AD2060}" destId="{065839DE-C1E3-4A67-A42B-A0A09A778139}" srcOrd="15" destOrd="0" presId="urn:microsoft.com/office/officeart/2005/8/layout/list1"/>
    <dgm:cxn modelId="{83ECEBCE-B784-4E77-B89D-6C8EB857B3C6}" type="presParOf" srcId="{E83DB176-244F-47E7-918F-286573AD2060}" destId="{133F14EA-7231-4B0E-97C9-E1B063D31022}" srcOrd="16" destOrd="0" presId="urn:microsoft.com/office/officeart/2005/8/layout/list1"/>
    <dgm:cxn modelId="{71399820-3C71-4527-AC2E-795A1A15A959}" type="presParOf" srcId="{133F14EA-7231-4B0E-97C9-E1B063D31022}" destId="{E7C75149-F468-41C7-BC00-A83B86A96EEF}" srcOrd="0" destOrd="0" presId="urn:microsoft.com/office/officeart/2005/8/layout/list1"/>
    <dgm:cxn modelId="{234825CB-F43F-4908-AA8F-60C05645EF0F}" type="presParOf" srcId="{133F14EA-7231-4B0E-97C9-E1B063D31022}" destId="{3BFB77A7-1102-47F6-AD21-2CBD58F886C5}" srcOrd="1" destOrd="0" presId="urn:microsoft.com/office/officeart/2005/8/layout/list1"/>
    <dgm:cxn modelId="{27039AC0-1219-4823-9ED2-F03F0C0BF765}" type="presParOf" srcId="{E83DB176-244F-47E7-918F-286573AD2060}" destId="{4D7EFF89-BBCB-4F15-9066-86A5E903DBF3}" srcOrd="17" destOrd="0" presId="urn:microsoft.com/office/officeart/2005/8/layout/list1"/>
    <dgm:cxn modelId="{19CA37A2-6D87-404D-949A-540760F29929}" type="presParOf" srcId="{E83DB176-244F-47E7-918F-286573AD2060}" destId="{32B5E1DA-CDE4-4895-B261-85C6A5E5052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000CF24-253A-4DFD-9F93-B4BF7470A133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503FB5E-8A17-488E-AA55-843C983A2E14}">
      <dgm:prSet phldrT="[Text]" custT="1"/>
      <dgm:spPr/>
      <dgm:t>
        <a:bodyPr/>
        <a:lstStyle/>
        <a:p>
          <a:r>
            <a:rPr lang="en-US" sz="2400" dirty="0" smtClean="0">
              <a:latin typeface="+mj-lt"/>
            </a:rPr>
            <a:t>if.. </a:t>
          </a:r>
          <a:r>
            <a:rPr lang="en-US" sz="2400" dirty="0" err="1" smtClean="0">
              <a:latin typeface="+mj-lt"/>
            </a:rPr>
            <a:t>elif</a:t>
          </a:r>
          <a:r>
            <a:rPr lang="en-US" sz="2400" dirty="0" smtClean="0">
              <a:latin typeface="+mj-lt"/>
            </a:rPr>
            <a:t>.. else</a:t>
          </a:r>
          <a:endParaRPr lang="en-US" sz="2400" dirty="0">
            <a:latin typeface="+mj-lt"/>
          </a:endParaRPr>
        </a:p>
      </dgm:t>
    </dgm:pt>
    <dgm:pt modelId="{FB56E9B2-0663-4343-A09C-9BFF69E558C7}" type="parTrans" cxnId="{5173742B-62C8-413C-BA6C-67611D5E6DCF}">
      <dgm:prSet/>
      <dgm:spPr/>
      <dgm:t>
        <a:bodyPr/>
        <a:lstStyle/>
        <a:p>
          <a:endParaRPr lang="en-US"/>
        </a:p>
      </dgm:t>
    </dgm:pt>
    <dgm:pt modelId="{5869DFD9-7409-486B-9B9B-AA607C46C1EF}" type="sibTrans" cxnId="{5173742B-62C8-413C-BA6C-67611D5E6DCF}">
      <dgm:prSet/>
      <dgm:spPr/>
      <dgm:t>
        <a:bodyPr/>
        <a:lstStyle/>
        <a:p>
          <a:endParaRPr lang="en-US"/>
        </a:p>
      </dgm:t>
    </dgm:pt>
    <dgm:pt modelId="{AE158ABC-6D92-45ED-8868-5F2C0F2AEDD0}">
      <dgm:prSet phldrT="[Text]" custT="1"/>
      <dgm:spPr/>
      <dgm:t>
        <a:bodyPr/>
        <a:lstStyle/>
        <a:p>
          <a:r>
            <a:rPr lang="en-US" sz="2400" dirty="0" smtClean="0">
              <a:latin typeface="+mj-lt"/>
            </a:rPr>
            <a:t>Loops</a:t>
          </a:r>
          <a:endParaRPr lang="en-US" sz="2400" dirty="0">
            <a:latin typeface="+mj-lt"/>
          </a:endParaRPr>
        </a:p>
      </dgm:t>
    </dgm:pt>
    <dgm:pt modelId="{B086CEE1-D1D2-4A63-875B-2E04DE6545B5}" type="parTrans" cxnId="{09027EA2-065E-40E6-AB6B-985C92DD4021}">
      <dgm:prSet/>
      <dgm:spPr/>
      <dgm:t>
        <a:bodyPr/>
        <a:lstStyle/>
        <a:p>
          <a:endParaRPr lang="en-US"/>
        </a:p>
      </dgm:t>
    </dgm:pt>
    <dgm:pt modelId="{7C96D563-B131-41FD-9A34-97F695792604}" type="sibTrans" cxnId="{09027EA2-065E-40E6-AB6B-985C92DD4021}">
      <dgm:prSet/>
      <dgm:spPr/>
      <dgm:t>
        <a:bodyPr/>
        <a:lstStyle/>
        <a:p>
          <a:endParaRPr lang="en-US"/>
        </a:p>
      </dgm:t>
    </dgm:pt>
    <dgm:pt modelId="{29F9903F-E4BD-49D6-97B7-30B9916AF2C0}" type="pres">
      <dgm:prSet presAssocID="{6000CF24-253A-4DFD-9F93-B4BF7470A13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61CD10-49BA-4FAC-A8EF-64A31F072527}" type="pres">
      <dgm:prSet presAssocID="{5503FB5E-8A17-488E-AA55-843C983A2E14}" presName="parentLin" presStyleCnt="0"/>
      <dgm:spPr/>
    </dgm:pt>
    <dgm:pt modelId="{35E8CBD0-0B3F-4B9B-823A-3A86FB434E60}" type="pres">
      <dgm:prSet presAssocID="{5503FB5E-8A17-488E-AA55-843C983A2E14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493DD913-207A-4D46-A537-0A17059A85EF}" type="pres">
      <dgm:prSet presAssocID="{5503FB5E-8A17-488E-AA55-843C983A2E14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E4E7D0-3E97-48FB-95ED-0D3B2F3B5143}" type="pres">
      <dgm:prSet presAssocID="{5503FB5E-8A17-488E-AA55-843C983A2E14}" presName="negativeSpace" presStyleCnt="0"/>
      <dgm:spPr/>
    </dgm:pt>
    <dgm:pt modelId="{65515030-BF51-44D4-949C-67DD2FB7F458}" type="pres">
      <dgm:prSet presAssocID="{5503FB5E-8A17-488E-AA55-843C983A2E14}" presName="childText" presStyleLbl="conFgAcc1" presStyleIdx="0" presStyleCnt="2">
        <dgm:presLayoutVars>
          <dgm:bulletEnabled val="1"/>
        </dgm:presLayoutVars>
      </dgm:prSet>
      <dgm:spPr/>
    </dgm:pt>
    <dgm:pt modelId="{D2D93303-454A-4A09-B73D-744B36695F2E}" type="pres">
      <dgm:prSet presAssocID="{5869DFD9-7409-486B-9B9B-AA607C46C1EF}" presName="spaceBetweenRectangles" presStyleCnt="0"/>
      <dgm:spPr/>
    </dgm:pt>
    <dgm:pt modelId="{06A555BD-B61D-4E0F-8E1C-AF5B5332B942}" type="pres">
      <dgm:prSet presAssocID="{AE158ABC-6D92-45ED-8868-5F2C0F2AEDD0}" presName="parentLin" presStyleCnt="0"/>
      <dgm:spPr/>
    </dgm:pt>
    <dgm:pt modelId="{574D4948-7D98-4947-A7CB-727C47F3F7EC}" type="pres">
      <dgm:prSet presAssocID="{AE158ABC-6D92-45ED-8868-5F2C0F2AEDD0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9E3DF1AC-596E-42F8-98C8-338CE3417349}" type="pres">
      <dgm:prSet presAssocID="{AE158ABC-6D92-45ED-8868-5F2C0F2AEDD0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28B6F5-FBDE-4374-8368-595D5888669C}" type="pres">
      <dgm:prSet presAssocID="{AE158ABC-6D92-45ED-8868-5F2C0F2AEDD0}" presName="negativeSpace" presStyleCnt="0"/>
      <dgm:spPr/>
    </dgm:pt>
    <dgm:pt modelId="{A441FCEE-22E6-4C4C-AE90-3A0615F8888E}" type="pres">
      <dgm:prSet presAssocID="{AE158ABC-6D92-45ED-8868-5F2C0F2AEDD0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FFA4A6FA-70CF-4173-A3B8-52B1699E6E6E}" type="presOf" srcId="{AE158ABC-6D92-45ED-8868-5F2C0F2AEDD0}" destId="{9E3DF1AC-596E-42F8-98C8-338CE3417349}" srcOrd="1" destOrd="0" presId="urn:microsoft.com/office/officeart/2005/8/layout/list1"/>
    <dgm:cxn modelId="{F5A857DA-8EB6-492B-9F5A-FAE92943D0FD}" type="presOf" srcId="{6000CF24-253A-4DFD-9F93-B4BF7470A133}" destId="{29F9903F-E4BD-49D6-97B7-30B9916AF2C0}" srcOrd="0" destOrd="0" presId="urn:microsoft.com/office/officeart/2005/8/layout/list1"/>
    <dgm:cxn modelId="{EF8C4963-ACD1-4F0B-AFDC-D3663040B60E}" type="presOf" srcId="{5503FB5E-8A17-488E-AA55-843C983A2E14}" destId="{35E8CBD0-0B3F-4B9B-823A-3A86FB434E60}" srcOrd="0" destOrd="0" presId="urn:microsoft.com/office/officeart/2005/8/layout/list1"/>
    <dgm:cxn modelId="{5173742B-62C8-413C-BA6C-67611D5E6DCF}" srcId="{6000CF24-253A-4DFD-9F93-B4BF7470A133}" destId="{5503FB5E-8A17-488E-AA55-843C983A2E14}" srcOrd="0" destOrd="0" parTransId="{FB56E9B2-0663-4343-A09C-9BFF69E558C7}" sibTransId="{5869DFD9-7409-486B-9B9B-AA607C46C1EF}"/>
    <dgm:cxn modelId="{BA233526-D9C1-4DE5-87A4-1DEDF6BDE514}" type="presOf" srcId="{AE158ABC-6D92-45ED-8868-5F2C0F2AEDD0}" destId="{574D4948-7D98-4947-A7CB-727C47F3F7EC}" srcOrd="0" destOrd="0" presId="urn:microsoft.com/office/officeart/2005/8/layout/list1"/>
    <dgm:cxn modelId="{9E5A8A72-A6AA-48FA-9858-9F6ECCC5EDF5}" type="presOf" srcId="{5503FB5E-8A17-488E-AA55-843C983A2E14}" destId="{493DD913-207A-4D46-A537-0A17059A85EF}" srcOrd="1" destOrd="0" presId="urn:microsoft.com/office/officeart/2005/8/layout/list1"/>
    <dgm:cxn modelId="{09027EA2-065E-40E6-AB6B-985C92DD4021}" srcId="{6000CF24-253A-4DFD-9F93-B4BF7470A133}" destId="{AE158ABC-6D92-45ED-8868-5F2C0F2AEDD0}" srcOrd="1" destOrd="0" parTransId="{B086CEE1-D1D2-4A63-875B-2E04DE6545B5}" sibTransId="{7C96D563-B131-41FD-9A34-97F695792604}"/>
    <dgm:cxn modelId="{C8E191A9-55B0-42F0-A041-3A43E5FF1C02}" type="presParOf" srcId="{29F9903F-E4BD-49D6-97B7-30B9916AF2C0}" destId="{7061CD10-49BA-4FAC-A8EF-64A31F072527}" srcOrd="0" destOrd="0" presId="urn:microsoft.com/office/officeart/2005/8/layout/list1"/>
    <dgm:cxn modelId="{8D4DB64C-826D-4AB6-91A5-24B7572F2F4A}" type="presParOf" srcId="{7061CD10-49BA-4FAC-A8EF-64A31F072527}" destId="{35E8CBD0-0B3F-4B9B-823A-3A86FB434E60}" srcOrd="0" destOrd="0" presId="urn:microsoft.com/office/officeart/2005/8/layout/list1"/>
    <dgm:cxn modelId="{B6668057-8A57-4B67-8874-514BA6880AE1}" type="presParOf" srcId="{7061CD10-49BA-4FAC-A8EF-64A31F072527}" destId="{493DD913-207A-4D46-A537-0A17059A85EF}" srcOrd="1" destOrd="0" presId="urn:microsoft.com/office/officeart/2005/8/layout/list1"/>
    <dgm:cxn modelId="{BD734833-9F52-4B26-B796-4E7076323924}" type="presParOf" srcId="{29F9903F-E4BD-49D6-97B7-30B9916AF2C0}" destId="{B1E4E7D0-3E97-48FB-95ED-0D3B2F3B5143}" srcOrd="1" destOrd="0" presId="urn:microsoft.com/office/officeart/2005/8/layout/list1"/>
    <dgm:cxn modelId="{4E871FE1-A2B1-440E-9F21-74F420CA30FD}" type="presParOf" srcId="{29F9903F-E4BD-49D6-97B7-30B9916AF2C0}" destId="{65515030-BF51-44D4-949C-67DD2FB7F458}" srcOrd="2" destOrd="0" presId="urn:microsoft.com/office/officeart/2005/8/layout/list1"/>
    <dgm:cxn modelId="{98D87EBA-DC38-46B8-9038-15457B885D59}" type="presParOf" srcId="{29F9903F-E4BD-49D6-97B7-30B9916AF2C0}" destId="{D2D93303-454A-4A09-B73D-744B36695F2E}" srcOrd="3" destOrd="0" presId="urn:microsoft.com/office/officeart/2005/8/layout/list1"/>
    <dgm:cxn modelId="{C0D7B64D-A3CF-4AFC-96B4-0056811A8F00}" type="presParOf" srcId="{29F9903F-E4BD-49D6-97B7-30B9916AF2C0}" destId="{06A555BD-B61D-4E0F-8E1C-AF5B5332B942}" srcOrd="4" destOrd="0" presId="urn:microsoft.com/office/officeart/2005/8/layout/list1"/>
    <dgm:cxn modelId="{530C4624-11FC-45F0-A59C-9A3DE507CDFB}" type="presParOf" srcId="{06A555BD-B61D-4E0F-8E1C-AF5B5332B942}" destId="{574D4948-7D98-4947-A7CB-727C47F3F7EC}" srcOrd="0" destOrd="0" presId="urn:microsoft.com/office/officeart/2005/8/layout/list1"/>
    <dgm:cxn modelId="{9284D8B7-02FD-411F-9C10-1B25E15D1482}" type="presParOf" srcId="{06A555BD-B61D-4E0F-8E1C-AF5B5332B942}" destId="{9E3DF1AC-596E-42F8-98C8-338CE3417349}" srcOrd="1" destOrd="0" presId="urn:microsoft.com/office/officeart/2005/8/layout/list1"/>
    <dgm:cxn modelId="{E8161270-4E85-4FD6-A6E2-EC5D14A17828}" type="presParOf" srcId="{29F9903F-E4BD-49D6-97B7-30B9916AF2C0}" destId="{EF28B6F5-FBDE-4374-8368-595D5888669C}" srcOrd="5" destOrd="0" presId="urn:microsoft.com/office/officeart/2005/8/layout/list1"/>
    <dgm:cxn modelId="{D1C86E6D-9FDE-459D-8CFB-ADE1E11CD496}" type="presParOf" srcId="{29F9903F-E4BD-49D6-97B7-30B9916AF2C0}" destId="{A441FCEE-22E6-4C4C-AE90-3A0615F8888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9B9452-A243-4F50-BF83-8A531EBA497A}">
      <dsp:nvSpPr>
        <dsp:cNvPr id="0" name=""/>
        <dsp:cNvSpPr/>
      </dsp:nvSpPr>
      <dsp:spPr>
        <a:xfrm>
          <a:off x="0" y="297123"/>
          <a:ext cx="85391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F564E5-F1C6-4A2B-98BB-1A34F409D8E7}">
      <dsp:nvSpPr>
        <dsp:cNvPr id="0" name=""/>
        <dsp:cNvSpPr/>
      </dsp:nvSpPr>
      <dsp:spPr>
        <a:xfrm>
          <a:off x="426958" y="31443"/>
          <a:ext cx="5977414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j-lt"/>
            </a:rPr>
            <a:t>What is Python</a:t>
          </a:r>
          <a:endParaRPr lang="en-US" sz="1800" kern="1200" dirty="0">
            <a:latin typeface="+mj-lt"/>
          </a:endParaRPr>
        </a:p>
      </dsp:txBody>
      <dsp:txXfrm>
        <a:off x="452897" y="57382"/>
        <a:ext cx="5925536" cy="479482"/>
      </dsp:txXfrm>
    </dsp:sp>
    <dsp:sp modelId="{CE547230-CED0-40BA-A9D6-AD5E2168BC93}">
      <dsp:nvSpPr>
        <dsp:cNvPr id="0" name=""/>
        <dsp:cNvSpPr/>
      </dsp:nvSpPr>
      <dsp:spPr>
        <a:xfrm>
          <a:off x="0" y="1113603"/>
          <a:ext cx="85391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845D3F-ACAA-4948-B9D3-DD7BB9A01E35}">
      <dsp:nvSpPr>
        <dsp:cNvPr id="0" name=""/>
        <dsp:cNvSpPr/>
      </dsp:nvSpPr>
      <dsp:spPr>
        <a:xfrm>
          <a:off x="426958" y="847923"/>
          <a:ext cx="5977414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j-lt"/>
            </a:rPr>
            <a:t>History</a:t>
          </a:r>
          <a:endParaRPr lang="en-US" sz="1800" kern="1200" dirty="0">
            <a:latin typeface="+mj-lt"/>
          </a:endParaRPr>
        </a:p>
      </dsp:txBody>
      <dsp:txXfrm>
        <a:off x="452897" y="873862"/>
        <a:ext cx="5925536" cy="479482"/>
      </dsp:txXfrm>
    </dsp:sp>
    <dsp:sp modelId="{646EC9B9-AEE5-4EA9-9898-0BC2157C6DC4}">
      <dsp:nvSpPr>
        <dsp:cNvPr id="0" name=""/>
        <dsp:cNvSpPr/>
      </dsp:nvSpPr>
      <dsp:spPr>
        <a:xfrm>
          <a:off x="0" y="1930084"/>
          <a:ext cx="85391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7D9B78-A13F-486F-B39E-5FB3E6ECD633}">
      <dsp:nvSpPr>
        <dsp:cNvPr id="0" name=""/>
        <dsp:cNvSpPr/>
      </dsp:nvSpPr>
      <dsp:spPr>
        <a:xfrm>
          <a:off x="426958" y="1664404"/>
          <a:ext cx="5977414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Candara" pitchFamily="34" charset="0"/>
            </a:rPr>
            <a:t>Features of Python</a:t>
          </a:r>
          <a:endParaRPr lang="en-US" sz="1800" kern="1200" dirty="0">
            <a:latin typeface="Candara" pitchFamily="34" charset="0"/>
          </a:endParaRPr>
        </a:p>
      </dsp:txBody>
      <dsp:txXfrm>
        <a:off x="452897" y="1690343"/>
        <a:ext cx="5925536" cy="479482"/>
      </dsp:txXfrm>
    </dsp:sp>
    <dsp:sp modelId="{2851FF77-5882-4397-BCE7-B6D07B11408A}">
      <dsp:nvSpPr>
        <dsp:cNvPr id="0" name=""/>
        <dsp:cNvSpPr/>
      </dsp:nvSpPr>
      <dsp:spPr>
        <a:xfrm>
          <a:off x="0" y="2746564"/>
          <a:ext cx="85391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D56324-765E-4DDF-9758-EF45B5FF5B31}">
      <dsp:nvSpPr>
        <dsp:cNvPr id="0" name=""/>
        <dsp:cNvSpPr/>
      </dsp:nvSpPr>
      <dsp:spPr>
        <a:xfrm>
          <a:off x="426958" y="2480884"/>
          <a:ext cx="5977414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j-lt"/>
            </a:rPr>
            <a:t>Installing Python &amp; Online Documentation</a:t>
          </a:r>
          <a:endParaRPr lang="en-US" sz="1800" kern="1200" dirty="0">
            <a:latin typeface="+mj-lt"/>
          </a:endParaRPr>
        </a:p>
      </dsp:txBody>
      <dsp:txXfrm>
        <a:off x="452897" y="2506823"/>
        <a:ext cx="5925536" cy="479482"/>
      </dsp:txXfrm>
    </dsp:sp>
    <dsp:sp modelId="{942328B7-3C07-4888-B041-DF5AF5FA1962}">
      <dsp:nvSpPr>
        <dsp:cNvPr id="0" name=""/>
        <dsp:cNvSpPr/>
      </dsp:nvSpPr>
      <dsp:spPr>
        <a:xfrm>
          <a:off x="0" y="3563044"/>
          <a:ext cx="8539163" cy="1048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2734" tIns="374904" rIns="662734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</a:rPr>
            <a:t>Using interpreter/cli</a:t>
          </a:r>
          <a:endParaRPr lang="en-US" sz="1800" kern="1200" dirty="0">
            <a:latin typeface="+mj-lt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</a:rPr>
            <a:t>Setting up IDE</a:t>
          </a:r>
          <a:endParaRPr lang="en-US" sz="1800" kern="1200" dirty="0">
            <a:latin typeface="+mj-lt"/>
          </a:endParaRPr>
        </a:p>
      </dsp:txBody>
      <dsp:txXfrm>
        <a:off x="0" y="3563044"/>
        <a:ext cx="8539163" cy="1048950"/>
      </dsp:txXfrm>
    </dsp:sp>
    <dsp:sp modelId="{0C4D1E36-EE44-40AD-B3CC-6975A629AE0A}">
      <dsp:nvSpPr>
        <dsp:cNvPr id="0" name=""/>
        <dsp:cNvSpPr/>
      </dsp:nvSpPr>
      <dsp:spPr>
        <a:xfrm>
          <a:off x="426958" y="3297364"/>
          <a:ext cx="5977414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+mj-lt"/>
            </a:rPr>
            <a:t>Running Python</a:t>
          </a:r>
          <a:endParaRPr lang="en-US" sz="1800" kern="1200" dirty="0">
            <a:latin typeface="+mj-lt"/>
          </a:endParaRPr>
        </a:p>
      </dsp:txBody>
      <dsp:txXfrm>
        <a:off x="452897" y="3323303"/>
        <a:ext cx="5925536" cy="4794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5170CD-15F7-4E87-9999-561755FFCD72}">
      <dsp:nvSpPr>
        <dsp:cNvPr id="0" name=""/>
        <dsp:cNvSpPr/>
      </dsp:nvSpPr>
      <dsp:spPr>
        <a:xfrm>
          <a:off x="0" y="551419"/>
          <a:ext cx="8539163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2B20D2-5A3F-4AEE-99D1-AC650FB2A6D7}">
      <dsp:nvSpPr>
        <dsp:cNvPr id="0" name=""/>
        <dsp:cNvSpPr/>
      </dsp:nvSpPr>
      <dsp:spPr>
        <a:xfrm>
          <a:off x="426958" y="34819"/>
          <a:ext cx="5977414" cy="1033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+mj-lt"/>
            </a:rPr>
            <a:t>Structure of python code</a:t>
          </a:r>
          <a:endParaRPr lang="en-US" sz="2400" kern="1200" dirty="0">
            <a:latin typeface="+mj-lt"/>
          </a:endParaRPr>
        </a:p>
      </dsp:txBody>
      <dsp:txXfrm>
        <a:off x="477395" y="85256"/>
        <a:ext cx="5876540" cy="932326"/>
      </dsp:txXfrm>
    </dsp:sp>
    <dsp:sp modelId="{AE079E46-90CE-4BE0-A872-206D78B257B4}">
      <dsp:nvSpPr>
        <dsp:cNvPr id="0" name=""/>
        <dsp:cNvSpPr/>
      </dsp:nvSpPr>
      <dsp:spPr>
        <a:xfrm>
          <a:off x="0" y="2139019"/>
          <a:ext cx="8539163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F1F95D-4C5A-44EF-AB2E-16336294C958}">
      <dsp:nvSpPr>
        <dsp:cNvPr id="0" name=""/>
        <dsp:cNvSpPr/>
      </dsp:nvSpPr>
      <dsp:spPr>
        <a:xfrm>
          <a:off x="426958" y="1622419"/>
          <a:ext cx="5977414" cy="1033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+mj-lt"/>
            </a:rPr>
            <a:t>Variables &amp; Data Types</a:t>
          </a:r>
          <a:endParaRPr lang="en-US" sz="2400" kern="1200" dirty="0">
            <a:latin typeface="+mj-lt"/>
          </a:endParaRPr>
        </a:p>
      </dsp:txBody>
      <dsp:txXfrm>
        <a:off x="477395" y="1672856"/>
        <a:ext cx="5876540" cy="932326"/>
      </dsp:txXfrm>
    </dsp:sp>
    <dsp:sp modelId="{74FCD157-9250-45C5-B267-08E43ECB090E}">
      <dsp:nvSpPr>
        <dsp:cNvPr id="0" name=""/>
        <dsp:cNvSpPr/>
      </dsp:nvSpPr>
      <dsp:spPr>
        <a:xfrm>
          <a:off x="0" y="3726619"/>
          <a:ext cx="8539163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7F93FA-3FC0-4946-BFE1-32AF4BD1CFE5}">
      <dsp:nvSpPr>
        <dsp:cNvPr id="0" name=""/>
        <dsp:cNvSpPr/>
      </dsp:nvSpPr>
      <dsp:spPr>
        <a:xfrm>
          <a:off x="426958" y="3210019"/>
          <a:ext cx="5977414" cy="1033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+mj-lt"/>
            </a:rPr>
            <a:t>Operators</a:t>
          </a:r>
          <a:endParaRPr lang="en-US" sz="2400" kern="1200" dirty="0">
            <a:latin typeface="+mj-lt"/>
          </a:endParaRPr>
        </a:p>
      </dsp:txBody>
      <dsp:txXfrm>
        <a:off x="477395" y="3260456"/>
        <a:ext cx="5876540" cy="9323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7A81C4-4E78-4FF3-9722-92FC142E2827}">
      <dsp:nvSpPr>
        <dsp:cNvPr id="0" name=""/>
        <dsp:cNvSpPr/>
      </dsp:nvSpPr>
      <dsp:spPr>
        <a:xfrm>
          <a:off x="0" y="399094"/>
          <a:ext cx="8539163" cy="12237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2734" tIns="437388" rIns="662734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Operators</a:t>
          </a: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Functions</a:t>
          </a:r>
          <a:endParaRPr lang="en-US" sz="2100" kern="1200" dirty="0"/>
        </a:p>
      </dsp:txBody>
      <dsp:txXfrm>
        <a:off x="0" y="399094"/>
        <a:ext cx="8539163" cy="1223775"/>
      </dsp:txXfrm>
    </dsp:sp>
    <dsp:sp modelId="{396C5890-DEB4-4D50-931A-781AC04E3AFA}">
      <dsp:nvSpPr>
        <dsp:cNvPr id="0" name=""/>
        <dsp:cNvSpPr/>
      </dsp:nvSpPr>
      <dsp:spPr>
        <a:xfrm>
          <a:off x="426958" y="73091"/>
          <a:ext cx="5977414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Numbers</a:t>
          </a:r>
          <a:endParaRPr lang="en-US" sz="2100" kern="1200" dirty="0"/>
        </a:p>
      </dsp:txBody>
      <dsp:txXfrm>
        <a:off x="457220" y="103353"/>
        <a:ext cx="5916890" cy="559396"/>
      </dsp:txXfrm>
    </dsp:sp>
    <dsp:sp modelId="{512A097E-51F8-4299-AF75-5CBB1138D4A4}">
      <dsp:nvSpPr>
        <dsp:cNvPr id="0" name=""/>
        <dsp:cNvSpPr/>
      </dsp:nvSpPr>
      <dsp:spPr>
        <a:xfrm>
          <a:off x="0" y="2030186"/>
          <a:ext cx="8539163" cy="8930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2734" tIns="437388" rIns="662734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Operators</a:t>
          </a:r>
          <a:endParaRPr lang="en-US" sz="2100" kern="1200" dirty="0"/>
        </a:p>
      </dsp:txBody>
      <dsp:txXfrm>
        <a:off x="0" y="2030186"/>
        <a:ext cx="8539163" cy="893025"/>
      </dsp:txXfrm>
    </dsp:sp>
    <dsp:sp modelId="{47F2CFBA-D2B7-4240-874F-24D0728D411A}">
      <dsp:nvSpPr>
        <dsp:cNvPr id="0" name=""/>
        <dsp:cNvSpPr/>
      </dsp:nvSpPr>
      <dsp:spPr>
        <a:xfrm>
          <a:off x="426958" y="1720226"/>
          <a:ext cx="5977414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oolean</a:t>
          </a:r>
          <a:endParaRPr lang="en-US" sz="2100" kern="1200" dirty="0"/>
        </a:p>
      </dsp:txBody>
      <dsp:txXfrm>
        <a:off x="457220" y="1750488"/>
        <a:ext cx="5916890" cy="559396"/>
      </dsp:txXfrm>
    </dsp:sp>
    <dsp:sp modelId="{C895E17D-43C8-40ED-A4E0-607DD006E99A}">
      <dsp:nvSpPr>
        <dsp:cNvPr id="0" name=""/>
        <dsp:cNvSpPr/>
      </dsp:nvSpPr>
      <dsp:spPr>
        <a:xfrm>
          <a:off x="0" y="3346571"/>
          <a:ext cx="8539163" cy="12237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2734" tIns="437388" rIns="662734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Operators</a:t>
          </a: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Functions</a:t>
          </a:r>
          <a:endParaRPr lang="en-US" sz="2100" kern="1200" dirty="0"/>
        </a:p>
      </dsp:txBody>
      <dsp:txXfrm>
        <a:off x="0" y="3346571"/>
        <a:ext cx="8539163" cy="1223775"/>
      </dsp:txXfrm>
    </dsp:sp>
    <dsp:sp modelId="{59C5163B-2373-4042-8B40-369B8E0C656E}">
      <dsp:nvSpPr>
        <dsp:cNvPr id="0" name=""/>
        <dsp:cNvSpPr/>
      </dsp:nvSpPr>
      <dsp:spPr>
        <a:xfrm>
          <a:off x="426958" y="3036611"/>
          <a:ext cx="5977414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trings</a:t>
          </a:r>
          <a:endParaRPr lang="en-US" sz="2100" kern="1200" dirty="0"/>
        </a:p>
      </dsp:txBody>
      <dsp:txXfrm>
        <a:off x="457220" y="3066873"/>
        <a:ext cx="5916890" cy="55939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27FB9D-B954-473D-85DD-E7525DE5958A}">
      <dsp:nvSpPr>
        <dsp:cNvPr id="0" name=""/>
        <dsp:cNvSpPr/>
      </dsp:nvSpPr>
      <dsp:spPr>
        <a:xfrm>
          <a:off x="0" y="402919"/>
          <a:ext cx="8539163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78B968-9BD2-400E-9864-5B072148EEAB}">
      <dsp:nvSpPr>
        <dsp:cNvPr id="0" name=""/>
        <dsp:cNvSpPr/>
      </dsp:nvSpPr>
      <dsp:spPr>
        <a:xfrm>
          <a:off x="426958" y="107718"/>
          <a:ext cx="5977414" cy="5904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List</a:t>
          </a:r>
          <a:endParaRPr lang="en-US" sz="2000" kern="1200" dirty="0"/>
        </a:p>
      </dsp:txBody>
      <dsp:txXfrm>
        <a:off x="455779" y="136539"/>
        <a:ext cx="5919772" cy="532758"/>
      </dsp:txXfrm>
    </dsp:sp>
    <dsp:sp modelId="{322629B7-555B-4B35-BD08-EC2D75DD5F76}">
      <dsp:nvSpPr>
        <dsp:cNvPr id="0" name=""/>
        <dsp:cNvSpPr/>
      </dsp:nvSpPr>
      <dsp:spPr>
        <a:xfrm>
          <a:off x="0" y="1310119"/>
          <a:ext cx="8539163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CBF6EA-FE6B-4828-A392-5FBD83B78F52}">
      <dsp:nvSpPr>
        <dsp:cNvPr id="0" name=""/>
        <dsp:cNvSpPr/>
      </dsp:nvSpPr>
      <dsp:spPr>
        <a:xfrm>
          <a:off x="426958" y="1014919"/>
          <a:ext cx="5977414" cy="5904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uple</a:t>
          </a:r>
          <a:endParaRPr lang="en-US" sz="2000" kern="1200" dirty="0"/>
        </a:p>
      </dsp:txBody>
      <dsp:txXfrm>
        <a:off x="455779" y="1043740"/>
        <a:ext cx="5919772" cy="532758"/>
      </dsp:txXfrm>
    </dsp:sp>
    <dsp:sp modelId="{81E99642-90B1-41E0-8236-076D3FD4338D}">
      <dsp:nvSpPr>
        <dsp:cNvPr id="0" name=""/>
        <dsp:cNvSpPr/>
      </dsp:nvSpPr>
      <dsp:spPr>
        <a:xfrm>
          <a:off x="0" y="2217319"/>
          <a:ext cx="8539163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BB325C-62DB-4127-88D6-C726AB622363}">
      <dsp:nvSpPr>
        <dsp:cNvPr id="0" name=""/>
        <dsp:cNvSpPr/>
      </dsp:nvSpPr>
      <dsp:spPr>
        <a:xfrm>
          <a:off x="426958" y="1922119"/>
          <a:ext cx="5977414" cy="5904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ictionary</a:t>
          </a:r>
          <a:endParaRPr lang="en-US" sz="2000" kern="1200" dirty="0"/>
        </a:p>
      </dsp:txBody>
      <dsp:txXfrm>
        <a:off x="455779" y="1950940"/>
        <a:ext cx="5919772" cy="532758"/>
      </dsp:txXfrm>
    </dsp:sp>
    <dsp:sp modelId="{A843E8B9-A2D7-417F-AA6B-4AFB18D8AF61}">
      <dsp:nvSpPr>
        <dsp:cNvPr id="0" name=""/>
        <dsp:cNvSpPr/>
      </dsp:nvSpPr>
      <dsp:spPr>
        <a:xfrm>
          <a:off x="0" y="3124519"/>
          <a:ext cx="8539163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F2F055-C37D-4704-A298-9E7EA89D6720}">
      <dsp:nvSpPr>
        <dsp:cNvPr id="0" name=""/>
        <dsp:cNvSpPr/>
      </dsp:nvSpPr>
      <dsp:spPr>
        <a:xfrm>
          <a:off x="426958" y="2829319"/>
          <a:ext cx="5977414" cy="5904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t</a:t>
          </a:r>
          <a:endParaRPr lang="en-US" sz="2000" kern="1200" dirty="0"/>
        </a:p>
      </dsp:txBody>
      <dsp:txXfrm>
        <a:off x="455779" y="2858140"/>
        <a:ext cx="5919772" cy="532758"/>
      </dsp:txXfrm>
    </dsp:sp>
    <dsp:sp modelId="{32B5E1DA-CDE4-4895-B261-85C6A5E50527}">
      <dsp:nvSpPr>
        <dsp:cNvPr id="0" name=""/>
        <dsp:cNvSpPr/>
      </dsp:nvSpPr>
      <dsp:spPr>
        <a:xfrm>
          <a:off x="0" y="4031719"/>
          <a:ext cx="8539163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FB77A7-1102-47F6-AD21-2CBD58F886C5}">
      <dsp:nvSpPr>
        <dsp:cNvPr id="0" name=""/>
        <dsp:cNvSpPr/>
      </dsp:nvSpPr>
      <dsp:spPr>
        <a:xfrm>
          <a:off x="426958" y="3736519"/>
          <a:ext cx="5977414" cy="5904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ata Type Conversion</a:t>
          </a:r>
          <a:endParaRPr lang="en-US" sz="2000" kern="1200" dirty="0"/>
        </a:p>
      </dsp:txBody>
      <dsp:txXfrm>
        <a:off x="455779" y="3765340"/>
        <a:ext cx="5919772" cy="5327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515030-BF51-44D4-949C-67DD2FB7F458}">
      <dsp:nvSpPr>
        <dsp:cNvPr id="0" name=""/>
        <dsp:cNvSpPr/>
      </dsp:nvSpPr>
      <dsp:spPr>
        <a:xfrm>
          <a:off x="0" y="815118"/>
          <a:ext cx="8539163" cy="136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3DD913-207A-4D46-A537-0A17059A85EF}">
      <dsp:nvSpPr>
        <dsp:cNvPr id="0" name=""/>
        <dsp:cNvSpPr/>
      </dsp:nvSpPr>
      <dsp:spPr>
        <a:xfrm>
          <a:off x="426958" y="18078"/>
          <a:ext cx="5977414" cy="15940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+mj-lt"/>
            </a:rPr>
            <a:t>if.. </a:t>
          </a:r>
          <a:r>
            <a:rPr lang="en-US" sz="2400" kern="1200" dirty="0" err="1" smtClean="0">
              <a:latin typeface="+mj-lt"/>
            </a:rPr>
            <a:t>elif</a:t>
          </a:r>
          <a:r>
            <a:rPr lang="en-US" sz="2400" kern="1200" dirty="0" smtClean="0">
              <a:latin typeface="+mj-lt"/>
            </a:rPr>
            <a:t>.. else</a:t>
          </a:r>
          <a:endParaRPr lang="en-US" sz="2400" kern="1200" dirty="0">
            <a:latin typeface="+mj-lt"/>
          </a:endParaRPr>
        </a:p>
      </dsp:txBody>
      <dsp:txXfrm>
        <a:off x="504775" y="95895"/>
        <a:ext cx="5821780" cy="1438446"/>
      </dsp:txXfrm>
    </dsp:sp>
    <dsp:sp modelId="{A441FCEE-22E6-4C4C-AE90-3A0615F8888E}">
      <dsp:nvSpPr>
        <dsp:cNvPr id="0" name=""/>
        <dsp:cNvSpPr/>
      </dsp:nvSpPr>
      <dsp:spPr>
        <a:xfrm>
          <a:off x="0" y="3264559"/>
          <a:ext cx="8539163" cy="136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3DF1AC-596E-42F8-98C8-338CE3417349}">
      <dsp:nvSpPr>
        <dsp:cNvPr id="0" name=""/>
        <dsp:cNvSpPr/>
      </dsp:nvSpPr>
      <dsp:spPr>
        <a:xfrm>
          <a:off x="426958" y="2467519"/>
          <a:ext cx="5977414" cy="15940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5932" tIns="0" rIns="225932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+mj-lt"/>
            </a:rPr>
            <a:t>Loops</a:t>
          </a:r>
          <a:endParaRPr lang="en-US" sz="2400" kern="1200" dirty="0">
            <a:latin typeface="+mj-lt"/>
          </a:endParaRPr>
        </a:p>
      </dsp:txBody>
      <dsp:txXfrm>
        <a:off x="504775" y="2545336"/>
        <a:ext cx="5821780" cy="14384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5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sldNum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8597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49088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61072" y="586738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Python Training          				         A basic overview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011646" y="8776776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5697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1594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9911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8248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8587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1630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mmutable means that changing the value of a number data type results in a newly allocated object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14856123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mmutable means that changing the value of a number data type results in a newly allocated object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14856123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2228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860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275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8679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890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6410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6502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316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221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5273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927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074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23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235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1831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63432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86059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0912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0487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7812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9066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1049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0891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805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24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9729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2769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652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nstallation from a shared directory onto the audience systems to be given</a:t>
            </a:r>
          </a:p>
          <a:p>
            <a:r>
              <a:rPr lang="en-US" smtClean="0"/>
              <a:t>If already installation is done then demo of IDE to be done</a:t>
            </a:r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08756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362880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1.emf"/><Relationship Id="rId4" Type="http://schemas.openxmlformats.org/officeDocument/2006/relationships/tags" Target="../tags/tag50.xml"/><Relationship Id="rId9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9208918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887045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1259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14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05122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770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7633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03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124183138"/>
      </p:ext>
    </p:extLst>
  </p:cSld>
  <p:clrMapOvr>
    <a:masterClrMapping/>
  </p:clrMapOvr>
  <p:hf sldNum="0"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806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9754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714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1742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78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4278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80599"/>
      </p:ext>
    </p:extLst>
  </p:cSld>
  <p:clrMapOvr>
    <a:masterClrMapping/>
  </p:clrMapOvr>
  <p:hf sldNum="0" hdr="0" ft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017128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9952413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2084097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5007500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5045667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31536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8392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16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116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04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037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1411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2008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6820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92" r:id="rId16"/>
    <p:sldLayoutId id="214748370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71282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=""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1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2977180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8" r:id="rId7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tags" Target="../tags/tag79.xml"/><Relationship Id="rId39" Type="http://schemas.openxmlformats.org/officeDocument/2006/relationships/tags" Target="../tags/tag92.xml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34" Type="http://schemas.openxmlformats.org/officeDocument/2006/relationships/tags" Target="../tags/tag87.xml"/><Relationship Id="rId42" Type="http://schemas.openxmlformats.org/officeDocument/2006/relationships/tags" Target="../tags/tag95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tags" Target="../tags/tag78.xml"/><Relationship Id="rId33" Type="http://schemas.openxmlformats.org/officeDocument/2006/relationships/tags" Target="../tags/tag86.xml"/><Relationship Id="rId38" Type="http://schemas.openxmlformats.org/officeDocument/2006/relationships/tags" Target="../tags/tag91.xml"/><Relationship Id="rId46" Type="http://schemas.openxmlformats.org/officeDocument/2006/relationships/notesSlide" Target="../notesSlides/notesSlide3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tags" Target="../tags/tag82.xml"/><Relationship Id="rId41" Type="http://schemas.openxmlformats.org/officeDocument/2006/relationships/tags" Target="../tags/tag94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tags" Target="../tags/tag85.xml"/><Relationship Id="rId37" Type="http://schemas.openxmlformats.org/officeDocument/2006/relationships/tags" Target="../tags/tag90.xml"/><Relationship Id="rId40" Type="http://schemas.openxmlformats.org/officeDocument/2006/relationships/tags" Target="../tags/tag93.xml"/><Relationship Id="rId45" Type="http://schemas.openxmlformats.org/officeDocument/2006/relationships/slideLayout" Target="../slideLayouts/slideLayout25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tags" Target="../tags/tag81.xml"/><Relationship Id="rId36" Type="http://schemas.openxmlformats.org/officeDocument/2006/relationships/tags" Target="../tags/tag89.xml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31" Type="http://schemas.openxmlformats.org/officeDocument/2006/relationships/tags" Target="../tags/tag84.xml"/><Relationship Id="rId44" Type="http://schemas.openxmlformats.org/officeDocument/2006/relationships/tags" Target="../tags/tag97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tags" Target="../tags/tag80.xml"/><Relationship Id="rId30" Type="http://schemas.openxmlformats.org/officeDocument/2006/relationships/tags" Target="../tags/tag83.xml"/><Relationship Id="rId35" Type="http://schemas.openxmlformats.org/officeDocument/2006/relationships/tags" Target="../tags/tag88.xml"/><Relationship Id="rId43" Type="http://schemas.openxmlformats.org/officeDocument/2006/relationships/tags" Target="../tags/tag9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y2exe.org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hyperlink" Target="http://www.pyinstaller.org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ython.org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5" Type="http://schemas.openxmlformats.org/officeDocument/2006/relationships/hyperlink" Target="http://docs.python.org/tutorial/" TargetMode="External"/><Relationship Id="rId4" Type="http://schemas.openxmlformats.org/officeDocument/2006/relationships/hyperlink" Target="http://docs.python.org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991" y="3211835"/>
            <a:ext cx="3725949" cy="720725"/>
          </a:xfrm>
        </p:spPr>
        <p:txBody>
          <a:bodyPr/>
          <a:lstStyle/>
          <a:p>
            <a:r>
              <a:rPr lang="en-US" dirty="0"/>
              <a:t>Python Train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: A basic overview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222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lling/Running Python ID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ctr">
              <a:buNone/>
            </a:pPr>
            <a:endParaRPr lang="en-US" sz="360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en-US" sz="3600" dirty="0" smtClean="0">
                <a:solidFill>
                  <a:schemeClr val="tx1"/>
                </a:solidFill>
              </a:rPr>
              <a:t>Demo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16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nguage syntax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404264"/>
              </p:ext>
            </p:extLst>
          </p:nvPr>
        </p:nvGraphicFramePr>
        <p:xfrm>
          <a:off x="298450" y="1495425"/>
          <a:ext cx="8539163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3992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le python co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Below is a simple python program on a windows environment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Quick highlights of syntax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omments begin with a hash sign (#)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emicolon not mandatory, only to combine multiple statements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Blocks of code called </a:t>
            </a:r>
            <a:r>
              <a:rPr lang="en-US" b="1" dirty="0" smtClean="0">
                <a:solidFill>
                  <a:schemeClr val="tx1"/>
                </a:solidFill>
              </a:rPr>
              <a:t>suites</a:t>
            </a:r>
            <a:r>
              <a:rPr lang="en-US" dirty="0" smtClean="0">
                <a:solidFill>
                  <a:schemeClr val="tx1"/>
                </a:solidFill>
              </a:rPr>
              <a:t> are denoted by line indentation (no curly braces!!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Variables are auto typed, no need to be declared</a:t>
            </a:r>
          </a:p>
        </p:txBody>
      </p:sp>
      <p:sp>
        <p:nvSpPr>
          <p:cNvPr id="4" name="Rectangle 3"/>
          <p:cNvSpPr/>
          <p:nvPr/>
        </p:nvSpPr>
        <p:spPr>
          <a:xfrm>
            <a:off x="875838" y="3645731"/>
            <a:ext cx="7042245" cy="2425203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# This is a comment 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x=''; 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x=input('Enter your name:')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print ('Hello ',x)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x=input('Enter your age:')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y=float(x</a:t>
            </a:r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)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x=</a:t>
            </a:r>
            <a:r>
              <a:rPr lang="en-US" sz="1000" dirty="0" err="1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int</a:t>
            </a:r>
            <a:r>
              <a:rPr lang="en-US" sz="10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(y)</a:t>
            </a:r>
            <a:endParaRPr lang="en-US" sz="1000" dirty="0">
              <a:solidFill>
                <a:srgbClr val="000000"/>
              </a:solidFill>
              <a:latin typeface="Candara"/>
              <a:cs typeface="Courier New" panose="02070309020205020404" pitchFamily="49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if </a:t>
            </a:r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x &lt; 0 or x &gt; 150: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 print("invalid entry!")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else :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 if x &gt; 17 :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    print("You are eligible to vote")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 else :</a:t>
            </a:r>
          </a:p>
          <a:p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    </a:t>
            </a:r>
            <a:r>
              <a:rPr lang="en-US" sz="10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print("you </a:t>
            </a:r>
            <a:r>
              <a:rPr lang="en-US" sz="1000" dirty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are not eligible to vote")</a:t>
            </a:r>
          </a:p>
        </p:txBody>
      </p:sp>
    </p:spTree>
    <p:extLst>
      <p:ext uri="{BB962C8B-B14F-4D97-AF65-F5344CB8AC3E}">
        <p14:creationId xmlns:p14="http://schemas.microsoft.com/office/powerpoint/2010/main" val="263284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l"/>
            <a:r>
              <a:rPr lang="en-US" dirty="0" smtClean="0">
                <a:solidFill>
                  <a:srgbClr val="000000"/>
                </a:solidFill>
                <a:latin typeface="Candara"/>
              </a:rPr>
              <a:t> No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need to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declare</a:t>
            </a:r>
            <a:br>
              <a:rPr lang="en-US" dirty="0" smtClean="0">
                <a:solidFill>
                  <a:srgbClr val="000000"/>
                </a:solidFill>
                <a:latin typeface="Candara"/>
              </a:rPr>
            </a:b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>
                <a:solidFill>
                  <a:srgbClr val="000000"/>
                </a:solidFill>
                <a:latin typeface="Candara"/>
              </a:rPr>
              <a:t> Need to assign (initialize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use of uninitialized variable raises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exception</a:t>
            </a:r>
          </a:p>
          <a:p>
            <a:endParaRPr lang="en-US" dirty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 Auto typed</a:t>
            </a:r>
          </a:p>
          <a:p>
            <a:pPr marL="447675" lvl="1" indent="0">
              <a:buNone/>
            </a:pPr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andara"/>
              </a:rPr>
              <a:t>if </a:t>
            </a:r>
            <a:r>
              <a:rPr lang="en-US" sz="1600" dirty="0">
                <a:solidFill>
                  <a:srgbClr val="000000"/>
                </a:solidFill>
                <a:latin typeface="Candara"/>
              </a:rPr>
              <a:t>friendly: greeting = "hello world" </a:t>
            </a:r>
            <a:endParaRPr lang="en-US" sz="1600" dirty="0" smtClean="0">
              <a:solidFill>
                <a:srgbClr val="000000"/>
              </a:solidFill>
              <a:latin typeface="Candara"/>
            </a:endParaRPr>
          </a:p>
          <a:p>
            <a:pPr marL="447675" lvl="1" indent="0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andara"/>
              </a:rPr>
              <a:t> else</a:t>
            </a:r>
            <a:r>
              <a:rPr lang="en-US" sz="1600" dirty="0">
                <a:solidFill>
                  <a:srgbClr val="000000"/>
                </a:solidFill>
                <a:latin typeface="Candara"/>
              </a:rPr>
              <a:t>: greeting = 12**2 </a:t>
            </a:r>
            <a:endParaRPr lang="en-US" sz="1600" dirty="0" smtClean="0">
              <a:solidFill>
                <a:srgbClr val="000000"/>
              </a:solidFill>
              <a:latin typeface="Candara"/>
            </a:endParaRPr>
          </a:p>
          <a:p>
            <a:pPr marL="447675" lvl="1" indent="0" algn="l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andara"/>
              </a:rPr>
              <a:t> print greeting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/>
            </a:r>
            <a:br>
              <a:rPr lang="en-US" dirty="0" smtClean="0">
                <a:solidFill>
                  <a:srgbClr val="000000"/>
                </a:solidFill>
                <a:latin typeface="Candara"/>
              </a:rPr>
            </a:b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Variable names: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can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contain both letters and digits, but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they have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to begin with a letter or an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underscore.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Punctuation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characters such as @, $, and %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are not allowed.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Are case sensitive.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Cannot be any of the keywords</a:t>
            </a:r>
            <a:endParaRPr lang="en-US" dirty="0">
              <a:solidFill>
                <a:srgbClr val="000000"/>
              </a:solidFill>
              <a:latin typeface="Candara"/>
            </a:endParaRPr>
          </a:p>
          <a:p>
            <a:endParaRPr lang="en-US" dirty="0">
              <a:solidFill>
                <a:srgbClr val="000000"/>
              </a:solidFill>
              <a:latin typeface="Candara"/>
            </a:endParaRPr>
          </a:p>
          <a:p>
            <a:endParaRPr lang="en-US" dirty="0">
              <a:solidFill>
                <a:srgbClr val="00000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18991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rved </a:t>
            </a:r>
            <a:r>
              <a:rPr lang="en-US" dirty="0"/>
              <a:t>wor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>
                <a:solidFill>
                  <a:schemeClr val="tx1"/>
                </a:solidFill>
              </a:rPr>
              <a:t>Python Reserved words: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sz="1800" b="0" dirty="0" smtClean="0">
                <a:solidFill>
                  <a:schemeClr val="tx1"/>
                </a:solidFill>
              </a:rPr>
              <a:t>The </a:t>
            </a:r>
            <a:r>
              <a:rPr lang="en-US" sz="1800" b="0" dirty="0">
                <a:solidFill>
                  <a:schemeClr val="tx1"/>
                </a:solidFill>
              </a:rPr>
              <a:t>following list shows the reserved words in Python. These reserved </a:t>
            </a:r>
            <a:r>
              <a:rPr lang="en-US" sz="1800" b="0" dirty="0" smtClean="0">
                <a:solidFill>
                  <a:schemeClr val="tx1"/>
                </a:solidFill>
              </a:rPr>
              <a:t>words not to </a:t>
            </a:r>
            <a:r>
              <a:rPr lang="en-US" sz="1800" b="0" dirty="0">
                <a:solidFill>
                  <a:schemeClr val="tx1"/>
                </a:solidFill>
              </a:rPr>
              <a:t>be used as constant or variable or any other identifier </a:t>
            </a:r>
            <a:r>
              <a:rPr lang="en-US" sz="1800" b="0" dirty="0" smtClean="0">
                <a:solidFill>
                  <a:schemeClr val="tx1"/>
                </a:solidFill>
              </a:rPr>
              <a:t>names</a:t>
            </a:r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650078"/>
              </p:ext>
            </p:extLst>
          </p:nvPr>
        </p:nvGraphicFramePr>
        <p:xfrm>
          <a:off x="792297" y="2565412"/>
          <a:ext cx="5813948" cy="3009900"/>
        </p:xfrm>
        <a:graphic>
          <a:graphicData uri="http://schemas.openxmlformats.org/drawingml/2006/table">
            <a:tbl>
              <a:tblPr/>
              <a:tblGrid>
                <a:gridCol w="1453487"/>
                <a:gridCol w="1453487"/>
                <a:gridCol w="1453487"/>
                <a:gridCol w="1453487"/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nd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xec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t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s</a:t>
                      </a:r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ssert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inally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r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nlocal</a:t>
                      </a:r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reak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or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ass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rue</a:t>
                      </a:r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ass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rom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int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lse</a:t>
                      </a:r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tinue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lobal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aise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ne</a:t>
                      </a:r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f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f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eturn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l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mport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ry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if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n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hile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se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s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with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xcept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ambda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yield</a:t>
                      </a: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7625" marR="47625" marT="47625" marB="47625">
                    <a:lnL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105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Data Type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3528760"/>
              </p:ext>
            </p:extLst>
          </p:nvPr>
        </p:nvGraphicFramePr>
        <p:xfrm>
          <a:off x="298450" y="1495425"/>
          <a:ext cx="8539163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9833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Python supports four different numerical types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b="1" dirty="0" err="1" smtClean="0">
                <a:solidFill>
                  <a:schemeClr val="tx1"/>
                </a:solidFill>
              </a:rPr>
              <a:t>int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(signed integers) = C long precision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lon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(long integers [can also be represented in octal and hexadecimal]) unlimited precision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float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(floating point real values) = C double precision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complex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(complex numbers) = C double </a:t>
            </a:r>
            <a:r>
              <a:rPr lang="en-US" dirty="0" smtClean="0">
                <a:solidFill>
                  <a:schemeClr val="tx1"/>
                </a:solidFill>
              </a:rPr>
              <a:t>precision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They are immutable data </a:t>
            </a:r>
            <a:r>
              <a:rPr lang="en-US" dirty="0" smtClean="0">
                <a:solidFill>
                  <a:schemeClr val="tx1"/>
                </a:solidFill>
              </a:rPr>
              <a:t>type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xamples: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9578570"/>
              </p:ext>
            </p:extLst>
          </p:nvPr>
        </p:nvGraphicFramePr>
        <p:xfrm>
          <a:off x="950793" y="4280219"/>
          <a:ext cx="6951260" cy="2066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1906"/>
                <a:gridCol w="2634018"/>
                <a:gridCol w="1387521"/>
                <a:gridCol w="1737815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effectLst/>
                          <a:latin typeface="+mj-lt"/>
                        </a:rPr>
                        <a:t>int</a:t>
                      </a:r>
                      <a:endParaRPr lang="en-US" sz="16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  <a:latin typeface="+mj-lt"/>
                        </a:rPr>
                        <a:t>long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  <a:latin typeface="+mj-lt"/>
                        </a:rPr>
                        <a:t>float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effectLst/>
                          <a:latin typeface="+mj-lt"/>
                        </a:rPr>
                        <a:t>complex</a:t>
                      </a: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51924361L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0.0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  <a:latin typeface="+mj-lt"/>
                        </a:rPr>
                        <a:t>3.14j</a:t>
                      </a: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-0x19323L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15.20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45.j</a:t>
                      </a: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  <a:latin typeface="+mj-lt"/>
                        </a:rPr>
                        <a:t>-786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effectLst/>
                          <a:latin typeface="+mj-lt"/>
                        </a:rPr>
                        <a:t>0122L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-21.9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9.322e-36j</a:t>
                      </a: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080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0xDEFABCECBDAECBFBAEl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32.3+e18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.876j</a:t>
                      </a:r>
                    </a:p>
                  </a:txBody>
                  <a:tcPr marL="47625" marR="47625" marT="47625" marB="476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062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s: Operato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5853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rithmetic operators: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Note: No ++ -- operators availab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Note </a:t>
            </a:r>
            <a:r>
              <a:rPr lang="en-US" dirty="0">
                <a:solidFill>
                  <a:schemeClr val="tx1"/>
                </a:solidFill>
              </a:rPr>
              <a:t>that Integer division will produce truncated result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Eg</a:t>
            </a:r>
            <a:r>
              <a:rPr lang="en-US" sz="1600" dirty="0">
                <a:solidFill>
                  <a:schemeClr val="tx1"/>
                </a:solidFill>
              </a:rPr>
              <a:t>:   &gt;&gt;&gt;  1//2  will produce 0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Workaround</a:t>
            </a:r>
            <a:r>
              <a:rPr lang="en-US" sz="1600" dirty="0">
                <a:solidFill>
                  <a:schemeClr val="tx1"/>
                </a:solidFill>
              </a:rPr>
              <a:t>:  1./2   or  float(1)/2</a:t>
            </a: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9687534"/>
              </p:ext>
            </p:extLst>
          </p:nvPr>
        </p:nvGraphicFramePr>
        <p:xfrm>
          <a:off x="768824" y="2087353"/>
          <a:ext cx="8138160" cy="256251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41604"/>
                <a:gridCol w="7096556"/>
              </a:tblGrid>
              <a:tr h="308923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+mj-lt"/>
                        </a:rPr>
                        <a:t>Operator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+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Addition - Adds values on either side of the operator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Subtraction - Subtracts right hand operand from left hand operand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>
                          <a:effectLst/>
                          <a:latin typeface="+mj-lt"/>
                        </a:rPr>
                        <a:t>*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Multiplication - Multiplies values on either side of the operator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>
                          <a:effectLst/>
                          <a:latin typeface="+mj-lt"/>
                        </a:rPr>
                        <a:t>/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Division - Divides left hand operand by right hand operand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Modulus - Divides left hand operand by right hand operand and returns remainder</a:t>
                      </a:r>
                    </a:p>
                  </a:txBody>
                  <a:tcPr marL="47625" marR="47625" marT="47625" marB="47625"/>
                </a:tc>
              </a:tr>
              <a:tr h="308923">
                <a:tc>
                  <a:txBody>
                    <a:bodyPr/>
                    <a:lstStyle/>
                    <a:p>
                      <a:r>
                        <a:rPr lang="en-US" sz="1000">
                          <a:effectLst/>
                          <a:latin typeface="+mj-lt"/>
                        </a:rPr>
                        <a:t>**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Exponent - Performs exponential (power) calculation on operators</a:t>
                      </a:r>
                    </a:p>
                  </a:txBody>
                  <a:tcPr marL="47625" marR="47625" marT="47625" marB="47625"/>
                </a:tc>
              </a:tr>
              <a:tr h="397860">
                <a:tc>
                  <a:txBody>
                    <a:bodyPr/>
                    <a:lstStyle/>
                    <a:p>
                      <a:r>
                        <a:rPr lang="en-US" sz="1000">
                          <a:effectLst/>
                          <a:latin typeface="+mj-lt"/>
                        </a:rPr>
                        <a:t>//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effectLst/>
                          <a:latin typeface="+mj-lt"/>
                        </a:rPr>
                        <a:t>Floor Division - The division of operands where the result is the quotient in which the digits after the decimal point are removed.</a:t>
                      </a:r>
                    </a:p>
                  </a:txBody>
                  <a:tcPr marL="47625" marR="47625" marT="47625" marB="476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59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twise operator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Bitwise operator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Example: 7&lt;&lt;2, </a:t>
            </a:r>
            <a:r>
              <a:rPr lang="en-US" dirty="0" err="1" smtClean="0">
                <a:solidFill>
                  <a:schemeClr val="tx1"/>
                </a:solidFill>
              </a:rPr>
              <a:t>a&amp;b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a|b</a:t>
            </a:r>
            <a:r>
              <a:rPr lang="en-US" dirty="0" smtClean="0">
                <a:solidFill>
                  <a:schemeClr val="tx1"/>
                </a:solidFill>
              </a:rPr>
              <a:t>, 6^8, ~7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Note: These won’t work on float/complex data types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126763"/>
              </p:ext>
            </p:extLst>
          </p:nvPr>
        </p:nvGraphicFramePr>
        <p:xfrm>
          <a:off x="826882" y="2231171"/>
          <a:ext cx="7606352" cy="274701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73540"/>
                <a:gridCol w="6632812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j-lt"/>
                        </a:rPr>
                        <a:t>Operator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~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Bitwise</a:t>
                      </a:r>
                      <a:r>
                        <a:rPr lang="en-US" sz="1400" baseline="0" dirty="0" smtClean="0">
                          <a:effectLst/>
                          <a:latin typeface="+mj-lt"/>
                        </a:rPr>
                        <a:t> complement, unary operator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&amp;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Bitwise </a:t>
                      </a:r>
                      <a:r>
                        <a:rPr lang="en-US" sz="1400" dirty="0" err="1" smtClean="0">
                          <a:effectLst/>
                          <a:latin typeface="+mj-lt"/>
                        </a:rPr>
                        <a:t>ANDing</a:t>
                      </a:r>
                      <a:r>
                        <a:rPr lang="en-US" sz="1400" dirty="0" smtClean="0">
                          <a:effectLst/>
                          <a:latin typeface="+mj-lt"/>
                        </a:rPr>
                        <a:t>, binary operator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|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Bitwise </a:t>
                      </a:r>
                      <a:r>
                        <a:rPr lang="en-US" sz="1400" dirty="0" err="1" smtClean="0">
                          <a:effectLst/>
                          <a:latin typeface="+mj-lt"/>
                        </a:rPr>
                        <a:t>Oring</a:t>
                      </a:r>
                      <a:r>
                        <a:rPr lang="en-US" sz="1400" dirty="0" smtClean="0">
                          <a:effectLst/>
                          <a:latin typeface="+mj-lt"/>
                        </a:rPr>
                        <a:t>, binary operator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^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Bitwise </a:t>
                      </a:r>
                      <a:r>
                        <a:rPr lang="en-US" sz="1400" dirty="0" err="1" smtClean="0">
                          <a:effectLst/>
                          <a:latin typeface="+mj-lt"/>
                        </a:rPr>
                        <a:t>XORing</a:t>
                      </a:r>
                      <a:r>
                        <a:rPr lang="en-US" sz="1400" dirty="0" smtClean="0">
                          <a:effectLst/>
                          <a:latin typeface="+mj-lt"/>
                        </a:rPr>
                        <a:t>,</a:t>
                      </a:r>
                      <a:r>
                        <a:rPr lang="en-US" sz="1400" baseline="0" dirty="0" smtClean="0">
                          <a:effectLst/>
                          <a:latin typeface="+mj-lt"/>
                        </a:rPr>
                        <a:t> binary operator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&lt;&lt;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Left shift, will add trailing</a:t>
                      </a:r>
                      <a:r>
                        <a:rPr lang="en-US" sz="1400" baseline="0" dirty="0" smtClean="0">
                          <a:effectLst/>
                          <a:latin typeface="+mj-lt"/>
                        </a:rPr>
                        <a:t> zeros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&gt;&gt;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+mj-lt"/>
                        </a:rPr>
                        <a:t>Right shift, will add leading zeros</a:t>
                      </a:r>
                      <a:endParaRPr lang="en-US" sz="1400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405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s: Fun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Internally each of the objects have functions , e.g. 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as_integer_ratio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, numerator, denominator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etc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</a:p>
          <a:p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Support available also from “math” module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The math module contains the kinds of mathematical functions you’d typically find on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your calculator.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Comes bundled with default installation.</a:t>
            </a: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400" b="1" dirty="0">
                <a:solidFill>
                  <a:srgbClr val="000000"/>
                </a:solidFill>
                <a:latin typeface="Candara"/>
              </a:rPr>
              <a:t>import math</a:t>
            </a:r>
            <a:r>
              <a:rPr lang="en-US" sz="1400" dirty="0">
                <a:solidFill>
                  <a:srgbClr val="000000"/>
                </a:solidFill>
                <a:latin typeface="Candara"/>
              </a:rPr>
              <a:t> </a:t>
            </a:r>
            <a:endParaRPr lang="en-US" sz="1400" dirty="0" smtClean="0">
              <a:solidFill>
                <a:srgbClr val="000000"/>
              </a:solidFill>
              <a:latin typeface="Candara"/>
            </a:endParaRP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400" dirty="0" err="1">
                <a:solidFill>
                  <a:srgbClr val="000000"/>
                </a:solidFill>
                <a:latin typeface="Candara"/>
              </a:rPr>
              <a:t>math.pi</a:t>
            </a:r>
            <a:r>
              <a:rPr lang="en-US" sz="1400" dirty="0">
                <a:solidFill>
                  <a:srgbClr val="000000"/>
                </a:solidFill>
                <a:latin typeface="Candara"/>
              </a:rPr>
              <a:t> # Constant pi </a:t>
            </a:r>
            <a:endParaRPr lang="en-US" sz="1400" dirty="0" smtClean="0">
              <a:solidFill>
                <a:srgbClr val="000000"/>
              </a:solidFill>
              <a:latin typeface="Candara"/>
            </a:endParaRP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3.141592653589793 </a:t>
            </a: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400" dirty="0" err="1">
                <a:solidFill>
                  <a:srgbClr val="000000"/>
                </a:solidFill>
                <a:latin typeface="Candara"/>
              </a:rPr>
              <a:t>math.e</a:t>
            </a:r>
            <a:r>
              <a:rPr lang="en-US" sz="1400" dirty="0">
                <a:solidFill>
                  <a:srgbClr val="000000"/>
                </a:solidFill>
                <a:latin typeface="Candara"/>
              </a:rPr>
              <a:t> # Constant natural log base </a:t>
            </a:r>
            <a:endParaRPr lang="en-US" sz="1400" dirty="0" smtClean="0">
              <a:solidFill>
                <a:srgbClr val="000000"/>
              </a:solidFill>
              <a:latin typeface="Candara"/>
            </a:endParaRP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2.718281828459045 </a:t>
            </a: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400" dirty="0" err="1">
                <a:solidFill>
                  <a:srgbClr val="000000"/>
                </a:solidFill>
                <a:latin typeface="Candara"/>
              </a:rPr>
              <a:t>math.sqrt</a:t>
            </a:r>
            <a:r>
              <a:rPr lang="en-US" sz="1400" dirty="0">
                <a:solidFill>
                  <a:srgbClr val="000000"/>
                </a:solidFill>
                <a:latin typeface="Candara"/>
              </a:rPr>
              <a:t>(2.0) # Square root function </a:t>
            </a:r>
            <a:endParaRPr lang="en-US" sz="1400" dirty="0" smtClean="0">
              <a:solidFill>
                <a:srgbClr val="000000"/>
              </a:solidFill>
              <a:latin typeface="Candara"/>
            </a:endParaRP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1.4142135623730951 </a:t>
            </a:r>
          </a:p>
          <a:p>
            <a:pPr marL="809625" lvl="2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400" dirty="0" err="1">
                <a:solidFill>
                  <a:srgbClr val="000000"/>
                </a:solidFill>
                <a:latin typeface="Candara"/>
              </a:rPr>
              <a:t>math.radians</a:t>
            </a:r>
            <a:r>
              <a:rPr lang="en-US" sz="1400" dirty="0">
                <a:solidFill>
                  <a:srgbClr val="000000"/>
                </a:solidFill>
                <a:latin typeface="Candara"/>
              </a:rPr>
              <a:t>(90) # Convert 90 degrees to radians </a:t>
            </a: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1.5707963267948966</a:t>
            </a:r>
            <a:endParaRPr lang="en-US" dirty="0">
              <a:solidFill>
                <a:srgbClr val="00000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15708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70408"/>
          </a:xfrm>
        </p:spPr>
        <p:txBody>
          <a:bodyPr/>
          <a:lstStyle/>
          <a:p>
            <a:r>
              <a:rPr lang="en-US" dirty="0"/>
              <a:t>Introduction to Python</a:t>
            </a:r>
          </a:p>
          <a:p>
            <a:r>
              <a:rPr lang="en-US" dirty="0"/>
              <a:t>Variables &amp; Assignments</a:t>
            </a:r>
          </a:p>
          <a:p>
            <a:r>
              <a:rPr lang="en-US" dirty="0"/>
              <a:t>Basic Data Types</a:t>
            </a:r>
          </a:p>
          <a:p>
            <a:r>
              <a:rPr lang="en-US" dirty="0"/>
              <a:t>Data Structures</a:t>
            </a:r>
          </a:p>
          <a:p>
            <a:r>
              <a:rPr lang="en-US" dirty="0"/>
              <a:t>Control Structures</a:t>
            </a:r>
          </a:p>
          <a:p>
            <a:r>
              <a:rPr lang="en-US" dirty="0"/>
              <a:t>Functions, Modules &amp; Packages</a:t>
            </a:r>
          </a:p>
          <a:p>
            <a:r>
              <a:rPr lang="en-US" dirty="0" smtClean="0"/>
              <a:t>Classes </a:t>
            </a:r>
            <a:r>
              <a:rPr lang="en-US" dirty="0"/>
              <a:t>&amp; Objects</a:t>
            </a:r>
          </a:p>
          <a:p>
            <a:r>
              <a:rPr lang="en-US" dirty="0" smtClean="0"/>
              <a:t>Work with File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14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ole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94159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Python supports  </a:t>
            </a:r>
            <a:r>
              <a:rPr lang="en-US" i="1" dirty="0" smtClean="0">
                <a:solidFill>
                  <a:schemeClr val="tx1"/>
                </a:solidFill>
                <a:latin typeface="Candara"/>
              </a:rPr>
              <a:t>bool </a:t>
            </a:r>
            <a:r>
              <a:rPr lang="en-US" dirty="0" smtClean="0">
                <a:solidFill>
                  <a:schemeClr val="tx1"/>
                </a:solidFill>
                <a:latin typeface="Candara"/>
              </a:rPr>
              <a:t>data type with values </a:t>
            </a:r>
            <a:r>
              <a:rPr lang="en-US" dirty="0" smtClean="0">
                <a:solidFill>
                  <a:schemeClr val="tx1"/>
                </a:solidFill>
                <a:latin typeface="Candara"/>
                <a:cs typeface="Consolas" pitchFamily="49" charset="0"/>
              </a:rPr>
              <a:t>True</a:t>
            </a:r>
            <a:r>
              <a:rPr lang="en-US" dirty="0" smtClean="0">
                <a:solidFill>
                  <a:schemeClr val="tx1"/>
                </a:solidFill>
                <a:latin typeface="Candara"/>
              </a:rPr>
              <a:t> and </a:t>
            </a:r>
            <a:r>
              <a:rPr lang="en-US" dirty="0" smtClean="0">
                <a:solidFill>
                  <a:schemeClr val="tx1"/>
                </a:solidFill>
                <a:latin typeface="Candara"/>
                <a:cs typeface="Consolas" pitchFamily="49" charset="0"/>
              </a:rPr>
              <a:t>False</a:t>
            </a:r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Relational operators applicable as below:</a:t>
            </a:r>
          </a:p>
          <a:p>
            <a:endParaRPr lang="en-US" dirty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endParaRPr lang="en-US" dirty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endParaRPr lang="en-US" dirty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endParaRPr lang="en-US" dirty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endParaRPr lang="en-US" dirty="0" smtClean="0">
              <a:solidFill>
                <a:schemeClr val="tx1"/>
              </a:solidFill>
              <a:latin typeface="Candara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Logical Operators:  and , or,  not</a:t>
            </a:r>
            <a:endParaRPr lang="en-US" dirty="0">
              <a:solidFill>
                <a:schemeClr val="tx1"/>
              </a:solidFill>
              <a:latin typeface="Candara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895642"/>
              </p:ext>
            </p:extLst>
          </p:nvPr>
        </p:nvGraphicFramePr>
        <p:xfrm>
          <a:off x="658561" y="2428613"/>
          <a:ext cx="7498080" cy="349266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5228"/>
                <a:gridCol w="6142852"/>
              </a:tblGrid>
              <a:tr h="360842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j-lt"/>
                        </a:rPr>
                        <a:t>Operator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+mj-lt"/>
                        </a:rPr>
                        <a:t>==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Checks if the value of two operands are equal or not, if yes then condition becomes true.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effectLst/>
                          <a:latin typeface="+mj-lt"/>
                        </a:rPr>
                        <a:t>!=       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Checks if the value of two operands are equal or not, if values are not equal then condition becomes true.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+mj-lt"/>
                        </a:rPr>
                        <a:t>&gt;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Checks if the value of left operand is greater than the value of right operand, if yes then condition becomes true.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+mj-lt"/>
                        </a:rPr>
                        <a:t>&lt;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  <a:latin typeface="+mj-lt"/>
                        </a:rPr>
                        <a:t>Checks if the value of left operand is less than the value of right operand, if yes then condition becomes true.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+mj-lt"/>
                        </a:rPr>
                        <a:t>&gt;=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Checks if the value of left operand is greater than or equal to the value of right operand, if yes then condition becomes true.</a:t>
                      </a:r>
                    </a:p>
                  </a:txBody>
                  <a:tcPr marL="47625" marR="47625" marT="47625" marB="47625"/>
                </a:tc>
              </a:tr>
              <a:tr h="518980">
                <a:tc>
                  <a:txBody>
                    <a:bodyPr/>
                    <a:lstStyle/>
                    <a:p>
                      <a:r>
                        <a:rPr lang="en-US" sz="1600" b="1" dirty="0">
                          <a:effectLst/>
                          <a:latin typeface="+mj-lt"/>
                        </a:rPr>
                        <a:t>&lt;=</a:t>
                      </a:r>
                    </a:p>
                  </a:txBody>
                  <a:tcPr marL="47625" marR="47625" marT="47625" marB="47625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j-lt"/>
                        </a:rPr>
                        <a:t>Checks if the value of left operand is less than or equal to the value of right operand, if yes then condition becomes true.</a:t>
                      </a:r>
                    </a:p>
                  </a:txBody>
                  <a:tcPr marL="47625" marR="47625" marT="47625" marB="476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096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Strings in python are immutable.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You can visualize them as an immutable list of characters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You can use single quotes, doubles quotes, triple quotes (multiline string) and “r” (raw string)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str1 = “Hello World!”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str2 = “You can’t see me”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Python has many built-in functions to operate on strings.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Usual list operations like  +, *, splice, len work similarly on strings.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856125"/>
              </p:ext>
            </p:extLst>
          </p:nvPr>
        </p:nvGraphicFramePr>
        <p:xfrm>
          <a:off x="2514600" y="2515550"/>
          <a:ext cx="4114800" cy="8581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2960"/>
                <a:gridCol w="822960"/>
                <a:gridCol w="822960"/>
                <a:gridCol w="822960"/>
                <a:gridCol w="822960"/>
              </a:tblGrid>
              <a:tr h="32267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</a:t>
                      </a:r>
                      <a:endParaRPr lang="en-US" dirty="0"/>
                    </a:p>
                  </a:txBody>
                  <a:tcPr/>
                </a:tc>
              </a:tr>
              <a:tr h="228561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</a:t>
                      </a:r>
                      <a:endParaRPr lang="en-US" sz="1100" dirty="0"/>
                    </a:p>
                  </a:txBody>
                  <a:tcPr/>
                </a:tc>
              </a:tr>
              <a:tr h="27635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-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-4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-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-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-1</a:t>
                      </a:r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965285" y="2530672"/>
            <a:ext cx="575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j-lt"/>
              </a:rPr>
              <a:t>a = 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692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 Some helpful function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find() : finds a substring in a string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split() : very useful when parsing logs etc.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format() : A very powerful formatting function that uses a template string containing place holders. Refer documentation for completeness</a:t>
            </a:r>
          </a:p>
          <a:p>
            <a:pPr lvl="2"/>
            <a:r>
              <a:rPr lang="en-US" sz="1400" dirty="0">
                <a:solidFill>
                  <a:srgbClr val="000000"/>
                </a:solidFill>
                <a:latin typeface="Candara"/>
              </a:rPr>
              <a:t>s2 = "I am {1} and I am {0} years old.".</a:t>
            </a:r>
            <a:r>
              <a:rPr lang="en-US" sz="1400" dirty="0" smtClean="0">
                <a:solidFill>
                  <a:srgbClr val="000000"/>
                </a:solidFill>
                <a:latin typeface="Candara"/>
              </a:rPr>
              <a:t>format(10, “Alice”)</a:t>
            </a:r>
          </a:p>
          <a:p>
            <a:pPr lvl="1"/>
            <a:endParaRPr lang="en-US" dirty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 The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nsolas" pitchFamily="49" charset="0"/>
              </a:rPr>
              <a:t>in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and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nsolas" pitchFamily="49" charset="0"/>
              </a:rPr>
              <a:t>not in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operators test for membership</a:t>
            </a:r>
          </a:p>
          <a:p>
            <a:pPr marL="447675" lvl="1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&gt;&gt;&gt;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p" </a:t>
            </a:r>
            <a:r>
              <a:rPr lang="en-US" sz="14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in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apple"</a:t>
            </a:r>
          </a:p>
          <a:p>
            <a:pPr marL="447675" lvl="1" indent="0">
              <a:buNone/>
            </a:pPr>
            <a:r>
              <a:rPr lang="en-US" sz="1400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 True</a:t>
            </a:r>
            <a:endParaRPr lang="en-US" sz="1400" b="0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  <a:p>
            <a:pPr marL="447675" lvl="1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&gt;&gt;&gt;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</a:t>
            </a:r>
            <a:r>
              <a:rPr lang="en-US" sz="1400" b="0" dirty="0" err="1">
                <a:solidFill>
                  <a:srgbClr val="000000"/>
                </a:solidFill>
                <a:latin typeface="Candara"/>
                <a:cs typeface="Courier New" pitchFamily="49" charset="0"/>
              </a:rPr>
              <a:t>i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 </a:t>
            </a:r>
            <a:r>
              <a:rPr lang="en-US" sz="14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in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apple"</a:t>
            </a:r>
          </a:p>
          <a:p>
            <a:pPr marL="447675" lvl="1" indent="0">
              <a:buNone/>
            </a:pPr>
            <a:r>
              <a:rPr lang="en-US" sz="14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</a:t>
            </a:r>
            <a:r>
              <a:rPr lang="en-US" sz="1400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False</a:t>
            </a:r>
          </a:p>
          <a:p>
            <a:pPr marL="447675" lvl="1" indent="0">
              <a:buNone/>
            </a:pPr>
            <a:r>
              <a:rPr lang="en-US" sz="14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&gt;&gt;&gt;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x" </a:t>
            </a:r>
            <a:r>
              <a:rPr lang="en-US" sz="14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not in </a:t>
            </a:r>
            <a:r>
              <a:rPr lang="en-US" sz="14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"apple"</a:t>
            </a:r>
          </a:p>
          <a:p>
            <a:pPr marL="447675" lvl="1" indent="0">
              <a:buNone/>
            </a:pPr>
            <a:r>
              <a:rPr lang="en-US" sz="1400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 True</a:t>
            </a:r>
            <a:endParaRPr lang="en-US" sz="1400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53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tructures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19744418"/>
              </p:ext>
            </p:extLst>
          </p:nvPr>
        </p:nvGraphicFramePr>
        <p:xfrm>
          <a:off x="298450" y="1495425"/>
          <a:ext cx="8539163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876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A </a:t>
            </a:r>
            <a:r>
              <a:rPr lang="en-US" dirty="0">
                <a:solidFill>
                  <a:schemeClr val="tx1"/>
                </a:solidFill>
                <a:latin typeface="Candara"/>
              </a:rPr>
              <a:t>list is an ordered collection of </a:t>
            </a:r>
            <a:r>
              <a:rPr lang="en-US" dirty="0" smtClean="0">
                <a:solidFill>
                  <a:schemeClr val="tx1"/>
                </a:solidFill>
                <a:latin typeface="Candara"/>
              </a:rPr>
              <a:t>values.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Similar </a:t>
            </a:r>
            <a:r>
              <a:rPr lang="en-US" dirty="0">
                <a:solidFill>
                  <a:schemeClr val="tx1"/>
                </a:solidFill>
                <a:latin typeface="Candara"/>
              </a:rPr>
              <a:t>to arrays in C. One difference between them is that all the items belonging to a list can be of different data </a:t>
            </a:r>
            <a:r>
              <a:rPr lang="en-US" dirty="0" smtClean="0">
                <a:solidFill>
                  <a:schemeClr val="tx1"/>
                </a:solidFill>
                <a:latin typeface="Candara"/>
              </a:rPr>
              <a:t>type.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a 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= [] #Empty list </a:t>
            </a:r>
            <a:endParaRPr lang="en-US" sz="1600" b="0" dirty="0" smtClean="0">
              <a:solidFill>
                <a:schemeClr val="tx1"/>
              </a:solidFill>
              <a:latin typeface="Candara"/>
            </a:endParaRPr>
          </a:p>
          <a:p>
            <a:pPr marL="0" indent="0">
              <a:buNone/>
            </a:pPr>
            <a:r>
              <a:rPr lang="en-US" sz="1600" b="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b 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= [10, 20.1, "ABC"] 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#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List with different data types </a:t>
            </a:r>
            <a:endParaRPr lang="en-US" sz="1600" b="0" dirty="0" smtClean="0">
              <a:solidFill>
                <a:schemeClr val="tx1"/>
              </a:solidFill>
              <a:latin typeface="Candara"/>
            </a:endParaRPr>
          </a:p>
          <a:p>
            <a:pPr marL="0" indent="0">
              <a:buNone/>
            </a:pPr>
            <a:r>
              <a:rPr lang="en-US" sz="1600" b="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nested 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= ["hello", 2.0, 5, [10, 20]] #Nested List </a:t>
            </a:r>
            <a:endParaRPr lang="en-US" sz="1600" b="0" dirty="0" smtClean="0">
              <a:solidFill>
                <a:schemeClr val="tx1"/>
              </a:solidFill>
              <a:latin typeface="Candara"/>
            </a:endParaRPr>
          </a:p>
          <a:p>
            <a:pPr marL="0" indent="0">
              <a:buNone/>
            </a:pPr>
            <a:r>
              <a:rPr lang="en-US" sz="1600" b="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print 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b[0] </a:t>
            </a:r>
            <a:endParaRPr lang="en-US" sz="1600" b="0" dirty="0" smtClean="0">
              <a:solidFill>
                <a:schemeClr val="tx1"/>
              </a:solidFill>
              <a:latin typeface="Candara"/>
            </a:endParaRPr>
          </a:p>
          <a:p>
            <a:pPr marL="0" indent="0">
              <a:buNone/>
            </a:pPr>
            <a:r>
              <a:rPr lang="en-US" sz="1600" b="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print </a:t>
            </a:r>
            <a:r>
              <a:rPr lang="en-US" sz="1600" b="0" dirty="0">
                <a:solidFill>
                  <a:schemeClr val="tx1"/>
                </a:solidFill>
                <a:latin typeface="Candara"/>
              </a:rPr>
              <a:t>nested[3][1</a:t>
            </a:r>
            <a:r>
              <a:rPr lang="en-US" sz="1600" b="0" dirty="0" smtClean="0">
                <a:solidFill>
                  <a:schemeClr val="tx1"/>
                </a:solidFill>
                <a:latin typeface="Candara"/>
              </a:rPr>
              <a:t>]</a:t>
            </a:r>
            <a:r>
              <a:rPr lang="en-US" sz="1600" dirty="0" smtClean="0">
                <a:solidFill>
                  <a:schemeClr val="tx1"/>
                </a:solidFill>
                <a:latin typeface="Candara"/>
              </a:rPr>
              <a:t>	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Accessing elements</a:t>
            </a:r>
          </a:p>
          <a:p>
            <a:pPr marL="447675" lvl="1" indent="0">
              <a:buNone/>
            </a:pPr>
            <a:r>
              <a:rPr lang="en-US" sz="1700" dirty="0" smtClean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0]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  #Returns first element </a:t>
            </a: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[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-1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]  #Returns last element </a:t>
            </a: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9-8] #Index can be any expression resulting in integer </a:t>
            </a:r>
            <a:endParaRPr lang="en-US" sz="1500" dirty="0" smtClean="0">
              <a:solidFill>
                <a:schemeClr val="tx1"/>
              </a:solidFill>
              <a:latin typeface="Candara"/>
            </a:endParaRP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1:3] #Slice: returns value at index 1 and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2</a:t>
            </a: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:4]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 #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Slice: returns elements from 0 to 3 </a:t>
            </a:r>
            <a:endParaRPr lang="en-US" sz="1500" dirty="0" smtClean="0">
              <a:solidFill>
                <a:schemeClr val="tx1"/>
              </a:solidFill>
              <a:latin typeface="Candara"/>
            </a:endParaRP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3:]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 #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Slice: returns elements from 3 to last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element</a:t>
            </a:r>
          </a:p>
          <a:p>
            <a:pPr marL="447675" lvl="1" indent="0">
              <a:buNone/>
            </a:pPr>
            <a:r>
              <a:rPr lang="en-US" sz="1500" dirty="0">
                <a:solidFill>
                  <a:schemeClr val="tx1"/>
                </a:solidFill>
                <a:latin typeface="Candara"/>
              </a:rPr>
              <a:t>	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&gt;&gt;&gt; 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numbers[:]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  #</a:t>
            </a:r>
            <a:r>
              <a:rPr lang="en-US" sz="1500" dirty="0">
                <a:solidFill>
                  <a:schemeClr val="tx1"/>
                </a:solidFill>
                <a:latin typeface="Candara"/>
              </a:rPr>
              <a:t>Slice: returns all </a:t>
            </a:r>
            <a:r>
              <a:rPr lang="en-US" sz="1500" dirty="0" smtClean="0">
                <a:solidFill>
                  <a:schemeClr val="tx1"/>
                </a:solidFill>
                <a:latin typeface="Candara"/>
              </a:rPr>
              <a:t>elements</a:t>
            </a:r>
            <a:endParaRPr lang="en-US" sz="1700" dirty="0" smtClean="0">
              <a:solidFill>
                <a:schemeClr val="tx1"/>
              </a:solidFill>
              <a:latin typeface="Candara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Lists are mutable: we can change their elements</a:t>
            </a:r>
            <a:endParaRPr lang="en-US" dirty="0">
              <a:solidFill>
                <a:schemeClr val="tx1"/>
              </a:solidFill>
              <a:latin typeface="Candara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/>
              </a:rPr>
              <a:t>The </a:t>
            </a:r>
            <a:r>
              <a:rPr lang="en-US" dirty="0">
                <a:solidFill>
                  <a:schemeClr val="tx1"/>
                </a:solidFill>
                <a:latin typeface="Candara"/>
              </a:rPr>
              <a:t>function len</a:t>
            </a:r>
            <a:r>
              <a:rPr lang="en-US" sz="1400" dirty="0">
                <a:solidFill>
                  <a:schemeClr val="tx1"/>
                </a:solidFill>
                <a:latin typeface="Candara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ndara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"/>
              </a:rPr>
              <a:t>returns </a:t>
            </a:r>
            <a:r>
              <a:rPr lang="en-US" dirty="0">
                <a:solidFill>
                  <a:schemeClr val="tx1"/>
                </a:solidFill>
                <a:latin typeface="Candara"/>
              </a:rPr>
              <a:t>the length of a list, which is equal to the number of its elements</a:t>
            </a:r>
          </a:p>
        </p:txBody>
      </p:sp>
    </p:spTree>
    <p:extLst>
      <p:ext uri="{BB962C8B-B14F-4D97-AF65-F5344CB8AC3E}">
        <p14:creationId xmlns:p14="http://schemas.microsoft.com/office/powerpoint/2010/main" val="143642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The “+” operator concatenates list and “*” operator repeats a list a given number of times.</a:t>
            </a: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List Methods: Many in-built methods are available to work on lists.</a:t>
            </a: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append, extend, pop, reverse, sort ……</a:t>
            </a:r>
          </a:p>
          <a:p>
            <a:pPr lvl="1"/>
            <a:endParaRPr lang="en-US" sz="1800" b="1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The “pop” method will default pop the last element (LIFO), else can pop by passing the index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Use “del” to delete an element from a list.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56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u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 Tuples are similar to lists, but immutable.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 Creating tuple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 rec = (“Ricky”, “IKP”, 1234)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 point </a:t>
            </a:r>
            <a:r>
              <a:rPr lang="en-US" dirty="0">
                <a:solidFill>
                  <a:schemeClr val="tx1"/>
                </a:solidFill>
              </a:rPr>
              <a:t>= x, y, z	 # parentheses </a:t>
            </a:r>
            <a:r>
              <a:rPr lang="en-US" dirty="0" smtClean="0">
                <a:solidFill>
                  <a:schemeClr val="tx1"/>
                </a:solidFill>
              </a:rPr>
              <a:t>optional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empty = ()		 # empty tuple</a:t>
            </a:r>
          </a:p>
          <a:p>
            <a:pPr lvl="1"/>
            <a:endParaRPr lang="en-US" b="1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 Tuple assignment: useful to assign multiple variables in one lin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fr-FR" dirty="0">
                <a:solidFill>
                  <a:schemeClr val="tx1"/>
                </a:solidFill>
              </a:rPr>
              <a:t>x, y, z = point  </a:t>
            </a:r>
            <a:r>
              <a:rPr lang="fr-FR" dirty="0" smtClean="0">
                <a:solidFill>
                  <a:schemeClr val="tx1"/>
                </a:solidFill>
              </a:rPr>
              <a:t>	 </a:t>
            </a:r>
            <a:r>
              <a:rPr lang="fr-FR" dirty="0">
                <a:solidFill>
                  <a:schemeClr val="tx1"/>
                </a:solidFill>
              </a:rPr>
              <a:t># </a:t>
            </a:r>
            <a:r>
              <a:rPr lang="fr-FR" dirty="0" smtClean="0">
                <a:solidFill>
                  <a:schemeClr val="tx1"/>
                </a:solidFill>
              </a:rPr>
              <a:t>unpack</a:t>
            </a:r>
          </a:p>
          <a:p>
            <a:pPr lvl="1"/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smtClean="0">
                <a:solidFill>
                  <a:schemeClr val="tx1"/>
                </a:solidFill>
              </a:rPr>
              <a:t>(a, b) = (b, a)	 # swap values</a:t>
            </a:r>
          </a:p>
          <a:p>
            <a:pPr lvl="1"/>
            <a:endParaRPr lang="fr-FR" b="1" dirty="0">
              <a:solidFill>
                <a:schemeClr val="tx1"/>
              </a:solidFill>
            </a:endParaRPr>
          </a:p>
          <a:p>
            <a:r>
              <a:rPr lang="fr-FR" dirty="0" smtClean="0">
                <a:solidFill>
                  <a:schemeClr val="tx1"/>
                </a:solidFill>
              </a:rPr>
              <a:t> Tuples can be used to return multiple values from a function.</a:t>
            </a:r>
            <a:br>
              <a:rPr lang="fr-FR" dirty="0" smtClean="0">
                <a:solidFill>
                  <a:schemeClr val="tx1"/>
                </a:solidFill>
              </a:rPr>
            </a:br>
            <a:endParaRPr lang="fr-FR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pPr lvl="1"/>
            <a:endParaRPr lang="en-US" b="1" dirty="0" smtClean="0">
              <a:solidFill>
                <a:schemeClr val="tx1"/>
              </a:solidFill>
            </a:endParaRPr>
          </a:p>
          <a:p>
            <a:pPr lvl="1"/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70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ction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Dictionaries are hash tables or associative arrays.</a:t>
            </a:r>
            <a:br>
              <a:rPr lang="en-US" dirty="0" smtClean="0">
                <a:solidFill>
                  <a:srgbClr val="000000"/>
                </a:solidFill>
                <a:latin typeface="Candara"/>
              </a:rPr>
            </a:b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>
                <a:solidFill>
                  <a:srgbClr val="000000"/>
                </a:solidFill>
                <a:latin typeface="Candara"/>
              </a:rPr>
              <a:t>They map keys, which can be any immutable type, to values, which can be any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type.</a:t>
            </a:r>
            <a:br>
              <a:rPr lang="en-US" dirty="0" smtClean="0">
                <a:solidFill>
                  <a:srgbClr val="000000"/>
                </a:solidFill>
                <a:latin typeface="Candara"/>
              </a:rPr>
            </a:b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Example:</a:t>
            </a:r>
          </a:p>
          <a:p>
            <a:pPr marL="447675" lvl="1" indent="0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&gt;&gt;&gt; </a:t>
            </a:r>
            <a:r>
              <a:rPr lang="en-US" sz="16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eng2sp = {}</a:t>
            </a:r>
          </a:p>
          <a:p>
            <a:pPr marL="447675" lvl="1" indent="0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&gt;&gt;&gt; </a:t>
            </a:r>
            <a:r>
              <a:rPr lang="en-US" sz="16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eng2sp["one"] =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“</a:t>
            </a:r>
            <a:r>
              <a:rPr lang="en-US" sz="1600" b="0" dirty="0" err="1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uno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”</a:t>
            </a:r>
            <a:endParaRPr lang="en-US" sz="1600" b="0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  <a:p>
            <a:pPr marL="447675" lvl="1" indent="0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&gt;&gt;&gt; </a:t>
            </a:r>
            <a:r>
              <a:rPr lang="en-US" sz="16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eng2sp["two"] =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“</a:t>
            </a:r>
            <a:r>
              <a:rPr lang="en-US" sz="1600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dos”</a:t>
            </a:r>
          </a:p>
          <a:p>
            <a:pPr marL="447675" lvl="1" indent="0">
              <a:buNone/>
            </a:pPr>
            <a:r>
              <a:rPr lang="en-US" sz="160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&gt;&gt;&gt; </a:t>
            </a:r>
            <a:r>
              <a:rPr lang="en-US" sz="16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print(eng2sp)</a:t>
            </a:r>
          </a:p>
          <a:p>
            <a:pPr marL="447675" lvl="1" indent="0">
              <a:buNone/>
            </a:pPr>
            <a:r>
              <a:rPr lang="en-US" sz="1600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{"two": "dos", "one": "</a:t>
            </a:r>
            <a:r>
              <a:rPr lang="en-US" sz="1600" b="0" dirty="0" err="1">
                <a:solidFill>
                  <a:srgbClr val="000000"/>
                </a:solidFill>
                <a:latin typeface="Candara"/>
                <a:cs typeface="Courier New" pitchFamily="49" charset="0"/>
              </a:rPr>
              <a:t>uno</a:t>
            </a:r>
            <a:r>
              <a:rPr lang="en-US" sz="1600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"}</a:t>
            </a:r>
          </a:p>
          <a:p>
            <a:pPr marL="447675" lvl="1" indent="0">
              <a:buNone/>
            </a:pPr>
            <a:endParaRPr lang="en-US" sz="1600" b="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Dictionaries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are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designed for </a:t>
            </a:r>
            <a:r>
              <a:rPr lang="en-US" dirty="0">
                <a:solidFill>
                  <a:srgbClr val="000000"/>
                </a:solidFill>
                <a:latin typeface="Candara"/>
              </a:rPr>
              <a:t>very fast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access using complex algorithms</a:t>
            </a:r>
          </a:p>
          <a:p>
            <a:endParaRPr lang="en-US" dirty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Dictionaries are mutable.</a:t>
            </a:r>
            <a:endParaRPr lang="en-US" dirty="0">
              <a:solidFill>
                <a:srgbClr val="00000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71343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ction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As mentioned, the keys can be any immutable type. This allows even a tuple to be a key.</a:t>
            </a:r>
          </a:p>
          <a:p>
            <a:pPr marL="447675" lvl="1" indent="0">
              <a:buNone/>
            </a:pPr>
            <a:r>
              <a:rPr lang="fr-FR" b="1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&gt;&gt;&gt; </a:t>
            </a:r>
            <a:r>
              <a:rPr lang="fr-FR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matrix </a:t>
            </a:r>
            <a:r>
              <a:rPr lang="fr-FR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= {(0, 3): 1, (2, 1): 2, (4, 3): 3</a:t>
            </a:r>
            <a:r>
              <a:rPr lang="fr-FR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}</a:t>
            </a:r>
            <a:endParaRPr lang="en-US" b="1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Useful Functions: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dct.keys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()		#return a list of keys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dct.values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()	#return a list of values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dct.items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()		#return a list of key-value pairs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dct.has_key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()	#check for key existence in dictionary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dct.get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(‘key’, 1)  	#here if ‘key’ does not exist, then 1 will be returned</a:t>
            </a:r>
          </a:p>
          <a:p>
            <a:pPr lvl="1"/>
            <a:endParaRPr lang="en-US" dirty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Since dictionaries are mutable, so be aware of “aliasing”. Use the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nsolas" pitchFamily="49" charset="0"/>
              </a:rPr>
              <a:t>copy()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method to create a copy of original.</a:t>
            </a:r>
            <a:endParaRPr lang="en-US" dirty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Use </a:t>
            </a:r>
            <a:r>
              <a:rPr lang="en-US" dirty="0">
                <a:solidFill>
                  <a:srgbClr val="000000"/>
                </a:solidFill>
                <a:latin typeface="Candara"/>
                <a:cs typeface="Consolas" pitchFamily="49" charset="0"/>
              </a:rPr>
              <a:t>del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to delete elements in dictionary.</a:t>
            </a:r>
          </a:p>
        </p:txBody>
      </p:sp>
    </p:spTree>
    <p:extLst>
      <p:ext uri="{BB962C8B-B14F-4D97-AF65-F5344CB8AC3E}">
        <p14:creationId xmlns:p14="http://schemas.microsoft.com/office/powerpoint/2010/main" val="128396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000000"/>
                </a:solidFill>
                <a:latin typeface="Candara"/>
              </a:rPr>
              <a:t>“set” is a container that stores only unique </a:t>
            </a:r>
            <a:r>
              <a:rPr lang="en-US" b="0" dirty="0" smtClean="0">
                <a:solidFill>
                  <a:srgbClr val="000000"/>
                </a:solidFill>
                <a:latin typeface="Candara"/>
              </a:rPr>
              <a:t>elements.</a:t>
            </a:r>
          </a:p>
          <a:p>
            <a:pPr marL="0" indent="0">
              <a:buNone/>
            </a:pPr>
            <a:r>
              <a:rPr lang="en-US" sz="1600" b="0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sz="1600" b="0" dirty="0" smtClean="0">
                <a:solidFill>
                  <a:srgbClr val="000000"/>
                </a:solidFill>
                <a:latin typeface="Candara"/>
              </a:rPr>
              <a:t>  </a:t>
            </a:r>
            <a:endParaRPr lang="en-US" b="0" dirty="0" smtClean="0">
              <a:solidFill>
                <a:srgbClr val="000000"/>
              </a:solidFill>
              <a:latin typeface="Candara"/>
            </a:endParaRPr>
          </a:p>
          <a:p>
            <a:endParaRPr lang="en-US" dirty="0">
              <a:solidFill>
                <a:srgbClr val="000000"/>
              </a:solidFill>
              <a:latin typeface="Candar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2388" y="2077106"/>
            <a:ext cx="7629099" cy="3433033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000" dirty="0">
                <a:solidFill>
                  <a:srgbClr val="000000"/>
                </a:solidFill>
                <a:latin typeface="Candara"/>
              </a:rPr>
              <a:t>&gt;&gt;&gt; basket = ['apple', 'orange', 'apple', 'pear', 'orange', 'banana']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fruit = set(basket) # create a set without </a:t>
            </a:r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duplicates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fruit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orange', 'pear', 'apple', 'banana']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'orange' in fruit # fast membership testing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True 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'crabgrass' in fruit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False 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# Demonstrate set operations on unique letters from two words ...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= set('abracadabra'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b = set('</a:t>
            </a:r>
            <a:r>
              <a:rPr lang="en-US" sz="1000" dirty="0" err="1">
                <a:solidFill>
                  <a:srgbClr val="000000"/>
                </a:solidFill>
                <a:latin typeface="Candara"/>
              </a:rPr>
              <a:t>alacazam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'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# unique letters in a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a', 'r', 'b', 'c', 'd']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- b # letters in a but not in b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r', 'd', 'b']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| b # letters in either a or b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a', 'c', 'r', 'd', 'b', 'm', 'z', 'l']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&amp; b # letters in both a and b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a', 'c'])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&gt;&gt;&gt; 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a ^ b # letters in a or b but not both </a:t>
            </a:r>
            <a:endParaRPr lang="en-US" sz="1000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ndara"/>
              </a:rPr>
              <a:t>set</a:t>
            </a:r>
            <a:r>
              <a:rPr lang="en-US" sz="1000" dirty="0">
                <a:solidFill>
                  <a:srgbClr val="000000"/>
                </a:solidFill>
                <a:latin typeface="Candara"/>
              </a:rPr>
              <a:t>(['r', 'd', 'b', 'm', 'z', 'l'])</a:t>
            </a:r>
          </a:p>
          <a:p>
            <a:endParaRPr lang="en-US" sz="1000" dirty="0">
              <a:solidFill>
                <a:srgbClr val="00000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48499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Python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3704310"/>
              </p:ext>
            </p:extLst>
          </p:nvPr>
        </p:nvGraphicFramePr>
        <p:xfrm>
          <a:off x="298450" y="1495425"/>
          <a:ext cx="8539163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9519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Type Conversi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458835"/>
              </p:ext>
            </p:extLst>
          </p:nvPr>
        </p:nvGraphicFramePr>
        <p:xfrm>
          <a:off x="462314" y="1965397"/>
          <a:ext cx="6766560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3808"/>
                <a:gridCol w="4752752"/>
              </a:tblGrid>
              <a:tr h="23368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+mj-lt"/>
                        </a:rPr>
                        <a:t>Function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 err="1">
                          <a:effectLst/>
                          <a:latin typeface="+mj-lt"/>
                        </a:rPr>
                        <a:t>int</a:t>
                      </a:r>
                      <a:r>
                        <a:rPr lang="en-US" sz="1000" dirty="0">
                          <a:effectLst/>
                          <a:latin typeface="+mj-lt"/>
                        </a:rPr>
                        <a:t>(x [,base]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x to an integer. base specifies the base if x is a string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long(x [,base] 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x to a long integer. base specifies the base if x is a string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float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x to a floating-point number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complex(real [,imag]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reates a complex number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str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object x to a string representation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 err="1">
                          <a:effectLst/>
                          <a:latin typeface="+mj-lt"/>
                        </a:rPr>
                        <a:t>repr</a:t>
                      </a:r>
                      <a:r>
                        <a:rPr lang="en-US" sz="1000" dirty="0">
                          <a:effectLst/>
                          <a:latin typeface="+mj-lt"/>
                        </a:rPr>
                        <a:t>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object x to an expression string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eval(str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Evaluates a string and returns an object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tuple(s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s to a tuple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list(s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s to a list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set(s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s to a set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dict(d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reates a dictionary. d must be a sequence of (</a:t>
                      </a:r>
                      <a:r>
                        <a:rPr lang="en-US" sz="1000" dirty="0" err="1">
                          <a:effectLst/>
                          <a:latin typeface="+mj-lt"/>
                        </a:rPr>
                        <a:t>key,value</a:t>
                      </a:r>
                      <a:r>
                        <a:rPr lang="en-US" sz="1000" dirty="0">
                          <a:effectLst/>
                          <a:latin typeface="+mj-lt"/>
                        </a:rPr>
                        <a:t>) tuples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frozenset(s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s to a frozen set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chr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an integer to a character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unichr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an integer to a Unicode character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ord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a single character to its integer value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>
                          <a:effectLst/>
                          <a:latin typeface="+mj-lt"/>
                        </a:rPr>
                        <a:t>hex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an integer to a hexadecimal string.</a:t>
                      </a:r>
                    </a:p>
                  </a:txBody>
                  <a:tcPr marL="22435" marR="22435" marT="22435" marB="22435"/>
                </a:tc>
              </a:tr>
              <a:tr h="233680"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 err="1">
                          <a:effectLst/>
                          <a:latin typeface="+mj-lt"/>
                        </a:rPr>
                        <a:t>oct</a:t>
                      </a:r>
                      <a:r>
                        <a:rPr lang="en-US" sz="1000" dirty="0">
                          <a:effectLst/>
                          <a:latin typeface="+mj-lt"/>
                        </a:rPr>
                        <a:t>(x)</a:t>
                      </a:r>
                    </a:p>
                  </a:txBody>
                  <a:tcPr marL="22435" marR="22435" marT="22435" marB="224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000" dirty="0">
                          <a:effectLst/>
                          <a:latin typeface="+mj-lt"/>
                        </a:rPr>
                        <a:t>Converts an integer to an octal string.</a:t>
                      </a:r>
                    </a:p>
                  </a:txBody>
                  <a:tcPr marL="22435" marR="22435" marT="22435" marB="2243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44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 opera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 Multiple assignments</a:t>
            </a:r>
          </a:p>
          <a:p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363695"/>
              </p:ext>
            </p:extLst>
          </p:nvPr>
        </p:nvGraphicFramePr>
        <p:xfrm>
          <a:off x="691487" y="2147633"/>
          <a:ext cx="7701886" cy="188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93409"/>
                <a:gridCol w="470847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a </a:t>
                      </a:r>
                      <a:r>
                        <a:rPr lang="en-US" sz="1600" dirty="0" smtClean="0">
                          <a:solidFill>
                            <a:srgbClr val="000080"/>
                          </a:solidFill>
                          <a:latin typeface="+mj-lt"/>
                        </a:rPr>
                        <a:t>=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 b </a:t>
                      </a:r>
                      <a:r>
                        <a:rPr lang="en-US" sz="1600" dirty="0" smtClean="0">
                          <a:solidFill>
                            <a:srgbClr val="000080"/>
                          </a:solidFill>
                          <a:latin typeface="+mj-lt"/>
                        </a:rPr>
                        <a:t>=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 c </a:t>
                      </a:r>
                      <a:r>
                        <a:rPr lang="en-US" sz="1600" dirty="0" smtClean="0">
                          <a:solidFill>
                            <a:srgbClr val="000080"/>
                          </a:solidFill>
                          <a:latin typeface="+mj-lt"/>
                        </a:rPr>
                        <a:t>=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rgbClr val="FF0000"/>
                          </a:solidFill>
                          <a:latin typeface="+mj-lt"/>
                        </a:rPr>
                        <a:t>1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+mj-lt"/>
                        </a:rPr>
                        <a:t>An integer object is created with the value 1, and all three variables are assigned to the same memory location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</a:t>
                      </a:r>
                      <a:r>
                        <a:rPr lang="en-US" sz="1600" b="0" dirty="0" smtClean="0">
                          <a:solidFill>
                            <a:srgbClr val="000080"/>
                          </a:solidFill>
                          <a:effectLst/>
                          <a:latin typeface="+mj-lt"/>
                        </a:rPr>
                        <a:t>,</a:t>
                      </a:r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b</a:t>
                      </a:r>
                      <a:r>
                        <a:rPr lang="en-US" sz="1600" b="0" dirty="0" smtClean="0">
                          <a:solidFill>
                            <a:srgbClr val="000080"/>
                          </a:solidFill>
                          <a:effectLst/>
                          <a:latin typeface="+mj-lt"/>
                        </a:rPr>
                        <a:t>,</a:t>
                      </a:r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c </a:t>
                      </a:r>
                      <a:r>
                        <a:rPr lang="en-US" sz="1600" b="0" dirty="0" smtClean="0">
                          <a:solidFill>
                            <a:srgbClr val="000080"/>
                          </a:solidFill>
                          <a:effectLst/>
                          <a:latin typeface="+mj-lt"/>
                        </a:rPr>
                        <a:t>=</a:t>
                      </a:r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600" b="0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1</a:t>
                      </a:r>
                      <a:r>
                        <a:rPr lang="en-US" sz="1600" b="0" dirty="0" smtClean="0">
                          <a:solidFill>
                            <a:srgbClr val="000080"/>
                          </a:solidFill>
                          <a:effectLst/>
                          <a:latin typeface="+mj-lt"/>
                        </a:rPr>
                        <a:t>,</a:t>
                      </a:r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600" b="0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600" b="0" dirty="0" smtClean="0">
                          <a:solidFill>
                            <a:srgbClr val="000080"/>
                          </a:solidFill>
                          <a:effectLst/>
                          <a:latin typeface="+mj-lt"/>
                        </a:rPr>
                        <a:t>,</a:t>
                      </a:r>
                      <a:r>
                        <a:rPr lang="en-US" sz="16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600" b="0" dirty="0" smtClean="0">
                          <a:solidFill>
                            <a:srgbClr val="808080"/>
                          </a:solidFill>
                          <a:effectLst/>
                          <a:latin typeface="+mj-lt"/>
                        </a:rPr>
                        <a:t>"john"</a:t>
                      </a:r>
                      <a:endParaRPr lang="en-US" sz="1600" b="0" dirty="0">
                        <a:effectLst/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+mj-lt"/>
                        </a:rPr>
                        <a:t>two integer objects with values 1 and 2 are assigned to variables a and b, and one string object with the value "john" is assigned to the variable c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80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 Seman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here is difference in how python does assignment.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Assignment manipulates reference.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x </a:t>
            </a:r>
            <a:r>
              <a:rPr lang="en-US" dirty="0">
                <a:solidFill>
                  <a:schemeClr val="tx1"/>
                </a:solidFill>
              </a:rPr>
              <a:t>= y </a:t>
            </a:r>
            <a:r>
              <a:rPr lang="en-US" dirty="0" smtClean="0">
                <a:solidFill>
                  <a:schemeClr val="tx1"/>
                </a:solidFill>
              </a:rPr>
              <a:t>   #makes </a:t>
            </a:r>
            <a:r>
              <a:rPr lang="en-US" dirty="0">
                <a:solidFill>
                  <a:schemeClr val="tx1"/>
                </a:solidFill>
              </a:rPr>
              <a:t>x </a:t>
            </a:r>
            <a:r>
              <a:rPr lang="en-US" b="1" dirty="0">
                <a:solidFill>
                  <a:schemeClr val="tx1"/>
                </a:solidFill>
              </a:rPr>
              <a:t>reference</a:t>
            </a:r>
            <a:r>
              <a:rPr lang="en-US" dirty="0">
                <a:solidFill>
                  <a:schemeClr val="tx1"/>
                </a:solidFill>
              </a:rPr>
              <a:t> the object y </a:t>
            </a:r>
            <a:r>
              <a:rPr lang="en-US" dirty="0" smtClean="0">
                <a:solidFill>
                  <a:schemeClr val="tx1"/>
                </a:solidFill>
              </a:rPr>
              <a:t>referenc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x = y    #</a:t>
            </a:r>
            <a:r>
              <a:rPr lang="en-US" b="1" dirty="0">
                <a:solidFill>
                  <a:schemeClr val="tx1"/>
                </a:solidFill>
              </a:rPr>
              <a:t>does not make a copy</a:t>
            </a:r>
            <a:r>
              <a:rPr lang="en-US" dirty="0">
                <a:solidFill>
                  <a:schemeClr val="tx1"/>
                </a:solidFill>
              </a:rPr>
              <a:t> of y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Demo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91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ing a Shared List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latin typeface="+mj-lt"/>
            </a:endParaRPr>
          </a:p>
        </p:txBody>
      </p:sp>
      <p:grpSp>
        <p:nvGrpSpPr>
          <p:cNvPr id="4" name="Group 27"/>
          <p:cNvGrpSpPr>
            <a:grpSpLocks/>
          </p:cNvGrpSpPr>
          <p:nvPr/>
        </p:nvGrpSpPr>
        <p:grpSpPr bwMode="auto">
          <a:xfrm>
            <a:off x="3767912" y="2671544"/>
            <a:ext cx="3052763" cy="1314450"/>
            <a:chOff x="861" y="624"/>
            <a:chExt cx="1923" cy="828"/>
          </a:xfrm>
        </p:grpSpPr>
        <p:sp>
          <p:nvSpPr>
            <p:cNvPr id="5" name="Text Box 5"/>
            <p:cNvSpPr txBox="1">
              <a:spLocks noChangeArrowheads="1"/>
            </p:cNvSpPr>
            <p:nvPr/>
          </p:nvSpPr>
          <p:spPr bwMode="auto">
            <a:xfrm>
              <a:off x="863" y="624"/>
              <a:ext cx="194" cy="252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dirty="0"/>
                <a:t>a</a:t>
              </a:r>
            </a:p>
          </p:txBody>
        </p:sp>
        <p:sp>
          <p:nvSpPr>
            <p:cNvPr id="6" name="Line 6"/>
            <p:cNvSpPr>
              <a:spLocks noChangeShapeType="1"/>
            </p:cNvSpPr>
            <p:nvPr/>
          </p:nvSpPr>
          <p:spPr bwMode="auto">
            <a:xfrm>
              <a:off x="1104" y="768"/>
              <a:ext cx="624" cy="2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/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776" y="816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2112" y="816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 dirty="0"/>
                <a:t>2</a:t>
              </a: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2448" y="816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3</a:t>
              </a:r>
            </a:p>
          </p:txBody>
        </p:sp>
        <p:sp>
          <p:nvSpPr>
            <p:cNvPr id="10" name="Text Box 12"/>
            <p:cNvSpPr txBox="1">
              <a:spLocks noChangeArrowheads="1"/>
            </p:cNvSpPr>
            <p:nvPr/>
          </p:nvSpPr>
          <p:spPr bwMode="auto">
            <a:xfrm>
              <a:off x="861" y="1200"/>
              <a:ext cx="201" cy="252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dirty="0"/>
                <a:t>b</a:t>
              </a:r>
            </a:p>
          </p:txBody>
        </p:sp>
        <p:sp>
          <p:nvSpPr>
            <p:cNvPr id="11" name="Line 13"/>
            <p:cNvSpPr>
              <a:spLocks noChangeShapeType="1"/>
            </p:cNvSpPr>
            <p:nvPr/>
          </p:nvSpPr>
          <p:spPr bwMode="auto">
            <a:xfrm flipV="1">
              <a:off x="1104" y="1104"/>
              <a:ext cx="624" cy="2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/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767912" y="4424144"/>
            <a:ext cx="3590925" cy="1314510"/>
            <a:chOff x="4191000" y="4724400"/>
            <a:chExt cx="3590925" cy="1314510"/>
          </a:xfrm>
        </p:grpSpPr>
        <p:sp>
          <p:nvSpPr>
            <p:cNvPr id="13" name="Text Box 15"/>
            <p:cNvSpPr txBox="1">
              <a:spLocks noChangeArrowheads="1"/>
            </p:cNvSpPr>
            <p:nvPr/>
          </p:nvSpPr>
          <p:spPr bwMode="auto">
            <a:xfrm>
              <a:off x="4194175" y="4724400"/>
              <a:ext cx="30809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dirty="0"/>
                <a:t>a</a:t>
              </a:r>
            </a:p>
          </p:txBody>
        </p:sp>
        <p:sp>
          <p:nvSpPr>
            <p:cNvPr id="14" name="Line 16"/>
            <p:cNvSpPr>
              <a:spLocks noChangeShapeType="1"/>
            </p:cNvSpPr>
            <p:nvPr/>
          </p:nvSpPr>
          <p:spPr bwMode="auto">
            <a:xfrm>
              <a:off x="4576763" y="4953000"/>
              <a:ext cx="990600" cy="3810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/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5643563" y="50292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6176963" y="50292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2</a:t>
              </a:r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auto">
            <a:xfrm>
              <a:off x="6710363" y="50292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3</a:t>
              </a:r>
            </a:p>
          </p:txBody>
        </p:sp>
        <p:sp>
          <p:nvSpPr>
            <p:cNvPr id="18" name="Text Box 20"/>
            <p:cNvSpPr txBox="1">
              <a:spLocks noChangeArrowheads="1"/>
            </p:cNvSpPr>
            <p:nvPr/>
          </p:nvSpPr>
          <p:spPr bwMode="auto">
            <a:xfrm>
              <a:off x="4191000" y="5638800"/>
              <a:ext cx="31931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/>
                <a:t>b</a:t>
              </a:r>
            </a:p>
          </p:txBody>
        </p:sp>
        <p:sp>
          <p:nvSpPr>
            <p:cNvPr id="19" name="Line 21"/>
            <p:cNvSpPr>
              <a:spLocks noChangeShapeType="1"/>
            </p:cNvSpPr>
            <p:nvPr/>
          </p:nvSpPr>
          <p:spPr bwMode="auto">
            <a:xfrm flipV="1">
              <a:off x="4576763" y="5486400"/>
              <a:ext cx="990600" cy="3810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/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  <p:sp>
          <p:nvSpPr>
            <p:cNvPr id="20" name="Rectangle 22"/>
            <p:cNvSpPr>
              <a:spLocks noChangeArrowheads="1"/>
            </p:cNvSpPr>
            <p:nvPr/>
          </p:nvSpPr>
          <p:spPr bwMode="auto">
            <a:xfrm>
              <a:off x="7248525" y="50292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/>
              <a:r>
                <a:rPr lang="en-US" sz="2000" dirty="0" smtClean="0"/>
                <a:t>4</a:t>
              </a:r>
              <a:endParaRPr lang="en-US" sz="2000" dirty="0"/>
            </a:p>
          </p:txBody>
        </p:sp>
      </p:grpSp>
      <p:sp>
        <p:nvSpPr>
          <p:cNvPr id="22" name="Text Box 24"/>
          <p:cNvSpPr txBox="1">
            <a:spLocks noChangeArrowheads="1"/>
          </p:cNvSpPr>
          <p:nvPr/>
        </p:nvSpPr>
        <p:spPr bwMode="auto">
          <a:xfrm>
            <a:off x="1177112" y="1680944"/>
            <a:ext cx="146867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>
                <a:latin typeface="+mj-lt"/>
              </a:rPr>
              <a:t>a = [1, 2, 3]</a:t>
            </a:r>
          </a:p>
        </p:txBody>
      </p:sp>
      <p:sp>
        <p:nvSpPr>
          <p:cNvPr id="23" name="Text Box 26"/>
          <p:cNvSpPr txBox="1">
            <a:spLocks noChangeArrowheads="1"/>
          </p:cNvSpPr>
          <p:nvPr/>
        </p:nvSpPr>
        <p:spPr bwMode="auto">
          <a:xfrm>
            <a:off x="1177112" y="4881344"/>
            <a:ext cx="156645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 err="1">
                <a:latin typeface="+mj-lt"/>
              </a:rPr>
              <a:t>a.append</a:t>
            </a:r>
            <a:r>
              <a:rPr lang="en-US" sz="2000" dirty="0">
                <a:latin typeface="+mj-lt"/>
              </a:rPr>
              <a:t>(4)</a:t>
            </a:r>
          </a:p>
        </p:txBody>
      </p:sp>
      <p:sp>
        <p:nvSpPr>
          <p:cNvPr id="24" name="Text Box 28"/>
          <p:cNvSpPr txBox="1">
            <a:spLocks noChangeArrowheads="1"/>
          </p:cNvSpPr>
          <p:nvPr/>
        </p:nvSpPr>
        <p:spPr bwMode="auto">
          <a:xfrm>
            <a:off x="1177112" y="3128744"/>
            <a:ext cx="76014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>
                <a:latin typeface="+mj-lt"/>
              </a:rPr>
              <a:t>b = a</a:t>
            </a:r>
          </a:p>
        </p:txBody>
      </p:sp>
      <p:grpSp>
        <p:nvGrpSpPr>
          <p:cNvPr id="25" name="Group 38"/>
          <p:cNvGrpSpPr>
            <a:grpSpLocks/>
          </p:cNvGrpSpPr>
          <p:nvPr/>
        </p:nvGrpSpPr>
        <p:grpSpPr bwMode="auto">
          <a:xfrm>
            <a:off x="3767912" y="1528544"/>
            <a:ext cx="3049588" cy="762000"/>
            <a:chOff x="2640" y="768"/>
            <a:chExt cx="1921" cy="480"/>
          </a:xfrm>
        </p:grpSpPr>
        <p:sp>
          <p:nvSpPr>
            <p:cNvPr id="26" name="Text Box 30"/>
            <p:cNvSpPr txBox="1">
              <a:spLocks noChangeArrowheads="1"/>
            </p:cNvSpPr>
            <p:nvPr/>
          </p:nvSpPr>
          <p:spPr bwMode="auto">
            <a:xfrm>
              <a:off x="2640" y="879"/>
              <a:ext cx="194" cy="252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dirty="0"/>
                <a:t>a</a:t>
              </a:r>
            </a:p>
          </p:txBody>
        </p:sp>
        <p:sp>
          <p:nvSpPr>
            <p:cNvPr id="27" name="Line 31"/>
            <p:cNvSpPr>
              <a:spLocks noChangeShapeType="1"/>
            </p:cNvSpPr>
            <p:nvPr/>
          </p:nvSpPr>
          <p:spPr bwMode="auto">
            <a:xfrm>
              <a:off x="2880" y="1008"/>
              <a:ext cx="6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/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  <p:sp>
          <p:nvSpPr>
            <p:cNvPr id="28" name="Rectangle 32"/>
            <p:cNvSpPr>
              <a:spLocks noChangeArrowheads="1"/>
            </p:cNvSpPr>
            <p:nvPr/>
          </p:nvSpPr>
          <p:spPr bwMode="auto">
            <a:xfrm>
              <a:off x="3553" y="768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  <p:sp>
          <p:nvSpPr>
            <p:cNvPr id="29" name="Rectangle 33"/>
            <p:cNvSpPr>
              <a:spLocks noChangeArrowheads="1"/>
            </p:cNvSpPr>
            <p:nvPr/>
          </p:nvSpPr>
          <p:spPr bwMode="auto">
            <a:xfrm>
              <a:off x="3889" y="768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2</a:t>
              </a:r>
            </a:p>
          </p:txBody>
        </p:sp>
        <p:sp>
          <p:nvSpPr>
            <p:cNvPr id="30" name="Rectangle 34"/>
            <p:cNvSpPr>
              <a:spLocks noChangeArrowheads="1"/>
            </p:cNvSpPr>
            <p:nvPr/>
          </p:nvSpPr>
          <p:spPr bwMode="auto">
            <a:xfrm>
              <a:off x="4225" y="768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541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ing an intege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81400" y="2415295"/>
            <a:ext cx="1985963" cy="1347847"/>
            <a:chOff x="3581400" y="2633663"/>
            <a:chExt cx="1985963" cy="1347847"/>
          </a:xfrm>
        </p:grpSpPr>
        <p:sp>
          <p:nvSpPr>
            <p:cNvPr id="31" name="Text Box 5"/>
            <p:cNvSpPr txBox="1">
              <a:spLocks noChangeArrowheads="1"/>
            </p:cNvSpPr>
            <p:nvPr/>
          </p:nvSpPr>
          <p:spPr bwMode="auto">
            <a:xfrm>
              <a:off x="3584575" y="2633663"/>
              <a:ext cx="30809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l" eaLnBrk="0" hangingPunct="0"/>
              <a:r>
                <a:rPr lang="en-US" sz="2000" dirty="0"/>
                <a:t>a</a:t>
              </a:r>
            </a:p>
          </p:txBody>
        </p:sp>
        <p:sp>
          <p:nvSpPr>
            <p:cNvPr id="32" name="Line 6"/>
            <p:cNvSpPr>
              <a:spLocks noChangeShapeType="1"/>
            </p:cNvSpPr>
            <p:nvPr/>
          </p:nvSpPr>
          <p:spPr bwMode="auto">
            <a:xfrm>
              <a:off x="3967163" y="2895600"/>
              <a:ext cx="990600" cy="3810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5033963" y="29718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  <p:sp>
          <p:nvSpPr>
            <p:cNvPr id="34" name="Text Box 10"/>
            <p:cNvSpPr txBox="1">
              <a:spLocks noChangeArrowheads="1"/>
            </p:cNvSpPr>
            <p:nvPr/>
          </p:nvSpPr>
          <p:spPr bwMode="auto">
            <a:xfrm>
              <a:off x="3581400" y="3581400"/>
              <a:ext cx="31931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l" eaLnBrk="0" hangingPunct="0"/>
              <a:r>
                <a:rPr lang="en-US" sz="2000"/>
                <a:t>b</a:t>
              </a:r>
            </a:p>
          </p:txBody>
        </p:sp>
        <p:sp>
          <p:nvSpPr>
            <p:cNvPr id="35" name="Line 11"/>
            <p:cNvSpPr>
              <a:spLocks noChangeShapeType="1"/>
            </p:cNvSpPr>
            <p:nvPr/>
          </p:nvSpPr>
          <p:spPr bwMode="auto">
            <a:xfrm flipV="1">
              <a:off x="3967163" y="3429000"/>
              <a:ext cx="990600" cy="3810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</p:grpSp>
      <p:sp>
        <p:nvSpPr>
          <p:cNvPr id="41" name="Text Box 22"/>
          <p:cNvSpPr txBox="1">
            <a:spLocks noChangeArrowheads="1"/>
          </p:cNvSpPr>
          <p:nvPr/>
        </p:nvSpPr>
        <p:spPr bwMode="auto">
          <a:xfrm>
            <a:off x="1577464" y="1539920"/>
            <a:ext cx="76014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>
                <a:latin typeface="+mj-lt"/>
              </a:rPr>
              <a:t>a = 1</a:t>
            </a:r>
          </a:p>
        </p:txBody>
      </p:sp>
      <p:sp>
        <p:nvSpPr>
          <p:cNvPr id="42" name="Text Box 23"/>
          <p:cNvSpPr txBox="1">
            <a:spLocks noChangeArrowheads="1"/>
          </p:cNvSpPr>
          <p:nvPr/>
        </p:nvSpPr>
        <p:spPr bwMode="auto">
          <a:xfrm>
            <a:off x="1577464" y="5013280"/>
            <a:ext cx="105189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>
                <a:latin typeface="+mj-lt"/>
              </a:rPr>
              <a:t>a = a+1</a:t>
            </a:r>
          </a:p>
        </p:txBody>
      </p:sp>
      <p:sp>
        <p:nvSpPr>
          <p:cNvPr id="43" name="Text Box 24"/>
          <p:cNvSpPr txBox="1">
            <a:spLocks noChangeArrowheads="1"/>
          </p:cNvSpPr>
          <p:nvPr/>
        </p:nvSpPr>
        <p:spPr bwMode="auto">
          <a:xfrm>
            <a:off x="1577464" y="3042312"/>
            <a:ext cx="76014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 eaLnBrk="0" hangingPunct="0"/>
            <a:r>
              <a:rPr lang="en-US" sz="2000" dirty="0">
                <a:latin typeface="+mj-lt"/>
              </a:rPr>
              <a:t>b = a</a:t>
            </a:r>
          </a:p>
        </p:txBody>
      </p:sp>
      <p:grpSp>
        <p:nvGrpSpPr>
          <p:cNvPr id="44" name="Group 30"/>
          <p:cNvGrpSpPr>
            <a:grpSpLocks/>
          </p:cNvGrpSpPr>
          <p:nvPr/>
        </p:nvGrpSpPr>
        <p:grpSpPr bwMode="auto">
          <a:xfrm>
            <a:off x="3581400" y="1251040"/>
            <a:ext cx="1982788" cy="762000"/>
            <a:chOff x="2640" y="768"/>
            <a:chExt cx="1249" cy="480"/>
          </a:xfrm>
        </p:grpSpPr>
        <p:sp>
          <p:nvSpPr>
            <p:cNvPr id="45" name="Text Box 25"/>
            <p:cNvSpPr txBox="1">
              <a:spLocks noChangeArrowheads="1"/>
            </p:cNvSpPr>
            <p:nvPr/>
          </p:nvSpPr>
          <p:spPr bwMode="auto">
            <a:xfrm>
              <a:off x="2640" y="888"/>
              <a:ext cx="194" cy="252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dirty="0"/>
                <a:t>a</a:t>
              </a:r>
            </a:p>
          </p:txBody>
        </p:sp>
        <p:sp>
          <p:nvSpPr>
            <p:cNvPr id="46" name="Line 26"/>
            <p:cNvSpPr>
              <a:spLocks noChangeShapeType="1"/>
            </p:cNvSpPr>
            <p:nvPr/>
          </p:nvSpPr>
          <p:spPr bwMode="auto">
            <a:xfrm>
              <a:off x="2880" y="1008"/>
              <a:ext cx="625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000"/>
            </a:p>
          </p:txBody>
        </p:sp>
        <p:sp>
          <p:nvSpPr>
            <p:cNvPr id="47" name="Rectangle 27"/>
            <p:cNvSpPr>
              <a:spLocks noChangeArrowheads="1"/>
            </p:cNvSpPr>
            <p:nvPr/>
          </p:nvSpPr>
          <p:spPr bwMode="auto">
            <a:xfrm>
              <a:off x="3553" y="768"/>
              <a:ext cx="336" cy="48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581400" y="3930560"/>
            <a:ext cx="4648200" cy="2089240"/>
            <a:chOff x="3581400" y="3930560"/>
            <a:chExt cx="4648200" cy="2089240"/>
          </a:xfrm>
        </p:grpSpPr>
        <p:sp>
          <p:nvSpPr>
            <p:cNvPr id="36" name="Text Box 13"/>
            <p:cNvSpPr txBox="1">
              <a:spLocks noChangeArrowheads="1"/>
            </p:cNvSpPr>
            <p:nvPr/>
          </p:nvSpPr>
          <p:spPr bwMode="auto">
            <a:xfrm>
              <a:off x="3584575" y="4473575"/>
              <a:ext cx="30809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l" eaLnBrk="0" hangingPunct="0"/>
              <a:r>
                <a:rPr lang="en-US" sz="2000" dirty="0"/>
                <a:t>a</a:t>
              </a:r>
            </a:p>
          </p:txBody>
        </p:sp>
        <p:sp>
          <p:nvSpPr>
            <p:cNvPr id="37" name="Line 14"/>
            <p:cNvSpPr>
              <a:spLocks noChangeShapeType="1"/>
            </p:cNvSpPr>
            <p:nvPr/>
          </p:nvSpPr>
          <p:spPr bwMode="auto">
            <a:xfrm>
              <a:off x="3967163" y="4724400"/>
              <a:ext cx="98583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auto">
            <a:xfrm>
              <a:off x="5033963" y="52578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1</a:t>
              </a:r>
            </a:p>
          </p:txBody>
        </p:sp>
        <p:sp>
          <p:nvSpPr>
            <p:cNvPr id="39" name="Text Box 18"/>
            <p:cNvSpPr txBox="1">
              <a:spLocks noChangeArrowheads="1"/>
            </p:cNvSpPr>
            <p:nvPr/>
          </p:nvSpPr>
          <p:spPr bwMode="auto">
            <a:xfrm>
              <a:off x="3581400" y="5410200"/>
              <a:ext cx="319318" cy="400110"/>
            </a:xfrm>
            <a:prstGeom prst="rect">
              <a:avLst/>
            </a:prstGeom>
            <a:ln/>
            <a:ex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>
              <a:spAutoFit/>
            </a:bodyPr>
            <a:lstStyle/>
            <a:p>
              <a:pPr algn="l" eaLnBrk="0" hangingPunct="0"/>
              <a:r>
                <a:rPr lang="en-US" sz="2000"/>
                <a:t>b</a:t>
              </a:r>
            </a:p>
          </p:txBody>
        </p:sp>
        <p:sp>
          <p:nvSpPr>
            <p:cNvPr id="40" name="Line 19"/>
            <p:cNvSpPr>
              <a:spLocks noChangeShapeType="1"/>
            </p:cNvSpPr>
            <p:nvPr/>
          </p:nvSpPr>
          <p:spPr bwMode="auto">
            <a:xfrm>
              <a:off x="3962400" y="5638800"/>
              <a:ext cx="9906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48" name="Rectangle 32"/>
            <p:cNvSpPr>
              <a:spLocks noChangeArrowheads="1"/>
            </p:cNvSpPr>
            <p:nvPr/>
          </p:nvSpPr>
          <p:spPr bwMode="auto">
            <a:xfrm>
              <a:off x="5029200" y="4343400"/>
              <a:ext cx="533400" cy="762000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2000"/>
                <a:t>2</a:t>
              </a:r>
            </a:p>
          </p:txBody>
        </p:sp>
        <p:sp>
          <p:nvSpPr>
            <p:cNvPr id="49" name="Line 38"/>
            <p:cNvSpPr>
              <a:spLocks noChangeShapeType="1"/>
            </p:cNvSpPr>
            <p:nvPr/>
          </p:nvSpPr>
          <p:spPr bwMode="auto">
            <a:xfrm>
              <a:off x="3962400" y="4953000"/>
              <a:ext cx="990600" cy="5334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000"/>
            </a:p>
          </p:txBody>
        </p:sp>
        <p:sp>
          <p:nvSpPr>
            <p:cNvPr id="50" name="AutoShape 41"/>
            <p:cNvSpPr>
              <a:spLocks noChangeArrowheads="1"/>
            </p:cNvSpPr>
            <p:nvPr/>
          </p:nvSpPr>
          <p:spPr bwMode="auto">
            <a:xfrm>
              <a:off x="5791200" y="4986338"/>
              <a:ext cx="2438400" cy="609600"/>
            </a:xfrm>
            <a:prstGeom prst="wedgeRectCallout">
              <a:avLst>
                <a:gd name="adj1" fmla="val -107421"/>
                <a:gd name="adj2" fmla="val -16144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/>
              <a:r>
                <a:rPr lang="en-US" sz="1600"/>
                <a:t>old reference deleted</a:t>
              </a:r>
            </a:p>
            <a:p>
              <a:pPr eaLnBrk="0" hangingPunct="0"/>
              <a:r>
                <a:rPr lang="en-US" sz="1600"/>
                <a:t>by assignment (a=...)</a:t>
              </a:r>
            </a:p>
          </p:txBody>
        </p:sp>
        <p:sp>
          <p:nvSpPr>
            <p:cNvPr id="51" name="AutoShape 43"/>
            <p:cNvSpPr>
              <a:spLocks noChangeArrowheads="1"/>
            </p:cNvSpPr>
            <p:nvPr/>
          </p:nvSpPr>
          <p:spPr bwMode="auto">
            <a:xfrm>
              <a:off x="5791200" y="3930560"/>
              <a:ext cx="2438400" cy="609600"/>
            </a:xfrm>
            <a:prstGeom prst="wedgeRectCallout">
              <a:avLst>
                <a:gd name="adj1" fmla="val -58398"/>
                <a:gd name="adj2" fmla="val 7994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/>
              <a:r>
                <a:rPr lang="en-US" sz="1600" dirty="0"/>
                <a:t>new </a:t>
              </a:r>
              <a:r>
                <a:rPr lang="en-US" sz="1600" dirty="0" err="1"/>
                <a:t>int</a:t>
              </a:r>
              <a:r>
                <a:rPr lang="en-US" sz="1600" dirty="0"/>
                <a:t> object created</a:t>
              </a:r>
            </a:p>
            <a:p>
              <a:pPr eaLnBrk="0" hangingPunct="0"/>
              <a:r>
                <a:rPr lang="en-US" sz="1600" dirty="0"/>
                <a:t>by add operator (1+1)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7055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 Structures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3541431"/>
              </p:ext>
            </p:extLst>
          </p:nvPr>
        </p:nvGraphicFramePr>
        <p:xfrm>
          <a:off x="298450" y="1495425"/>
          <a:ext cx="8539163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6419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.. </a:t>
            </a:r>
            <a:r>
              <a:rPr lang="en-US" dirty="0" err="1"/>
              <a:t>e</a:t>
            </a:r>
            <a:r>
              <a:rPr lang="en-US" dirty="0" err="1" smtClean="0"/>
              <a:t>lif</a:t>
            </a:r>
            <a:r>
              <a:rPr lang="en-US" dirty="0" smtClean="0"/>
              <a:t>.. else.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If… </a:t>
            </a:r>
            <a:r>
              <a:rPr lang="en-US" dirty="0" err="1" smtClean="0">
                <a:solidFill>
                  <a:srgbClr val="000000"/>
                </a:solidFill>
                <a:latin typeface="Candara"/>
              </a:rPr>
              <a:t>elif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… else…</a:t>
            </a:r>
          </a:p>
          <a:p>
            <a:pPr marL="447675" lvl="1" indent="0">
              <a:buNone/>
            </a:pP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if </a:t>
            </a:r>
            <a:r>
              <a:rPr lang="en-US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x &lt; y:</a:t>
            </a:r>
          </a:p>
          <a:p>
            <a:pPr marL="447675" lvl="1" indent="0">
              <a:buNone/>
            </a:pPr>
            <a:r>
              <a:rPr lang="en-US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 STATEMENTS_A</a:t>
            </a:r>
            <a:endParaRPr lang="en-US" b="0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  <a:p>
            <a:pPr marL="447675" lvl="1" indent="0">
              <a:buNone/>
            </a:pPr>
            <a:r>
              <a:rPr lang="en-US" dirty="0" err="1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elif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</a:t>
            </a:r>
            <a:r>
              <a:rPr lang="en-US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x &gt; y:</a:t>
            </a:r>
          </a:p>
          <a:p>
            <a:pPr marL="447675" lvl="1" indent="0">
              <a:buNone/>
            </a:pPr>
            <a:r>
              <a:rPr lang="en-US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 STATEMENTS_B</a:t>
            </a:r>
            <a:endParaRPr lang="en-US" b="0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  <a:p>
            <a:pPr marL="447675" lvl="1" indent="0">
              <a:buNone/>
            </a:pP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else</a:t>
            </a:r>
            <a:r>
              <a:rPr lang="en-US" b="0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:</a:t>
            </a:r>
          </a:p>
          <a:p>
            <a:pPr marL="447675" lvl="1" indent="0">
              <a:buNone/>
            </a:pPr>
            <a:r>
              <a:rPr lang="en-US" b="0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   STATEMENTS_C</a:t>
            </a:r>
            <a:endParaRPr lang="en-US" dirty="0">
              <a:solidFill>
                <a:srgbClr val="000000"/>
              </a:solidFill>
              <a:latin typeface="Candara"/>
              <a:cs typeface="Courier New" pitchFamily="49" charset="0"/>
            </a:endParaRPr>
          </a:p>
          <a:p>
            <a:pPr marL="447675" lvl="1" indent="0">
              <a:buNone/>
            </a:pP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Candara"/>
              </a:rPr>
              <a:t> Ternary operator supported but generally avoided for clarity</a:t>
            </a:r>
          </a:p>
          <a:p>
            <a:pPr marL="400050" lvl="1" indent="0">
              <a:buNone/>
            </a:pPr>
            <a:r>
              <a:rPr lang="en-US" sz="1400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  </a:t>
            </a:r>
            <a:r>
              <a:rPr lang="en-US" dirty="0" err="1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i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anose="02070309020205020404" pitchFamily="49" charset="0"/>
              </a:rPr>
              <a:t>=1 if 10&gt;20 else 2</a:t>
            </a:r>
          </a:p>
          <a:p>
            <a:pPr marL="400050" lvl="1" indent="0">
              <a:buNone/>
            </a:pPr>
            <a:endParaRPr lang="en-US" dirty="0" smtClean="0">
              <a:solidFill>
                <a:srgbClr val="000000"/>
              </a:solidFill>
              <a:latin typeface="Candara"/>
              <a:cs typeface="Courier New" panose="02070309020205020404" pitchFamily="49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Candara"/>
              </a:rPr>
              <a:t>Single line if statement</a:t>
            </a:r>
            <a:endParaRPr lang="en-US" dirty="0" smtClean="0">
              <a:solidFill>
                <a:srgbClr val="000000"/>
              </a:solidFill>
              <a:latin typeface="Candara"/>
            </a:endParaRPr>
          </a:p>
          <a:p>
            <a:pPr marL="447675" lvl="1" indent="0">
              <a:buNone/>
            </a:pPr>
            <a:r>
              <a:rPr lang="en-US" dirty="0">
                <a:solidFill>
                  <a:srgbClr val="000000"/>
                </a:solidFill>
                <a:latin typeface="Candara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ndara"/>
              </a:rPr>
              <a:t> 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if </a:t>
            </a:r>
            <a:r>
              <a:rPr lang="en-US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( </a:t>
            </a:r>
            <a:r>
              <a:rPr lang="en-US" dirty="0" err="1">
                <a:solidFill>
                  <a:srgbClr val="000000"/>
                </a:solidFill>
                <a:latin typeface="Candara"/>
                <a:cs typeface="Courier New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ndara"/>
                <a:cs typeface="Courier New" pitchFamily="49" charset="0"/>
              </a:rPr>
              <a:t> == 100 ) : print "Value of expression is </a:t>
            </a:r>
            <a:r>
              <a:rPr lang="en-US" dirty="0" smtClean="0">
                <a:solidFill>
                  <a:srgbClr val="000000"/>
                </a:solidFill>
                <a:latin typeface="Candara"/>
                <a:cs typeface="Courier New" pitchFamily="49" charset="0"/>
              </a:rPr>
              <a:t>100“</a:t>
            </a:r>
          </a:p>
        </p:txBody>
      </p:sp>
    </p:spTree>
    <p:extLst>
      <p:ext uri="{BB962C8B-B14F-4D97-AF65-F5344CB8AC3E}">
        <p14:creationId xmlns:p14="http://schemas.microsoft.com/office/powerpoint/2010/main" val="117283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3374467"/>
              </p:ext>
            </p:extLst>
          </p:nvPr>
        </p:nvGraphicFramePr>
        <p:xfrm>
          <a:off x="464700" y="1732925"/>
          <a:ext cx="8046719" cy="4023361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2740161"/>
                <a:gridCol w="2653279"/>
                <a:gridCol w="2653279"/>
              </a:tblGrid>
              <a:tr h="488460">
                <a:tc rowSpan="2">
                  <a:txBody>
                    <a:bodyPr/>
                    <a:lstStyle/>
                    <a:p>
                      <a:r>
                        <a:rPr lang="en-US" sz="1200" dirty="0" smtClean="0">
                          <a:latin typeface="+mj-lt"/>
                        </a:rPr>
                        <a:t>while loop</a:t>
                      </a:r>
                      <a:endParaRPr lang="en-US" sz="1200" dirty="0">
                        <a:latin typeface="+mj-lt"/>
                      </a:endParaRPr>
                    </a:p>
                  </a:txBody>
                  <a:tcPr marL="100375" marR="100375"/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while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expression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: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tatement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(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)</a:t>
                      </a:r>
                      <a:endParaRPr lang="en-US" sz="1200" dirty="0">
                        <a:latin typeface="+mj-lt"/>
                        <a:cs typeface="Consolas" pitchFamily="49" charset="0"/>
                      </a:endParaRPr>
                    </a:p>
                  </a:txBody>
                  <a:tcPr marL="100375" marR="10037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07974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#Else</a:t>
                      </a:r>
                      <a:r>
                        <a:rPr lang="en-US" sz="1200" baseline="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will be executed if expression is false</a:t>
                      </a:r>
                      <a:endParaRPr lang="en-US" sz="1200" dirty="0" smtClean="0">
                        <a:solidFill>
                          <a:srgbClr val="000088"/>
                        </a:solidFill>
                        <a:effectLst/>
                        <a:latin typeface="+mj-lt"/>
                        <a:cs typeface="Consolas" pitchFamily="49" charset="0"/>
                      </a:endParaRPr>
                    </a:p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while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expression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: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tatement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(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)</a:t>
                      </a:r>
                      <a:endParaRPr lang="en-US" sz="1200" dirty="0" smtClean="0">
                        <a:latin typeface="+mj-lt"/>
                        <a:cs typeface="Consolas" pitchFamily="49" charset="0"/>
                      </a:endParaRPr>
                    </a:p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else: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</a:p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statement(s)</a:t>
                      </a:r>
                      <a:endParaRPr lang="en-US" sz="1200" dirty="0">
                        <a:latin typeface="+mj-lt"/>
                        <a:cs typeface="Consolas" pitchFamily="49" charset="0"/>
                      </a:endParaRPr>
                    </a:p>
                  </a:txBody>
                  <a:tcPr marL="100375" marR="10037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88460">
                <a:tc rowSpan="4">
                  <a:txBody>
                    <a:bodyPr/>
                    <a:lstStyle/>
                    <a:p>
                      <a:r>
                        <a:rPr lang="en-US" sz="1200" dirty="0" smtClean="0">
                          <a:latin typeface="+mj-lt"/>
                        </a:rPr>
                        <a:t>for</a:t>
                      </a:r>
                      <a:r>
                        <a:rPr lang="en-US" sz="1200" baseline="0" dirty="0" smtClean="0">
                          <a:latin typeface="+mj-lt"/>
                        </a:rPr>
                        <a:t> loop</a:t>
                      </a:r>
                      <a:endParaRPr lang="en-US" sz="1200" dirty="0">
                        <a:latin typeface="+mj-lt"/>
                      </a:endParaRPr>
                    </a:p>
                  </a:txBody>
                  <a:tcPr marL="100375" marR="100375"/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fo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iterating_va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in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sequence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:</a:t>
                      </a:r>
                    </a:p>
                    <a:p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tatement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(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)</a:t>
                      </a:r>
                      <a:endParaRPr lang="en-US" sz="1200" dirty="0">
                        <a:latin typeface="+mj-lt"/>
                        <a:cs typeface="Consolas" pitchFamily="49" charset="0"/>
                      </a:endParaRPr>
                    </a:p>
                  </a:txBody>
                  <a:tcPr marL="100375" marR="10037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997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fo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iterating_va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in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sequence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:</a:t>
                      </a:r>
                    </a:p>
                    <a:p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tatement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(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s</a:t>
                      </a:r>
                      <a:r>
                        <a:rPr lang="en-US" sz="1200" dirty="0" smtClean="0">
                          <a:solidFill>
                            <a:srgbClr val="6666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)</a:t>
                      </a:r>
                      <a:endParaRPr lang="en-US" sz="1200" dirty="0" smtClean="0">
                        <a:latin typeface="+mj-lt"/>
                        <a:cs typeface="Consolas" pitchFamily="49" charset="0"/>
                      </a:endParaRPr>
                    </a:p>
                    <a:p>
                      <a:r>
                        <a:rPr lang="en-US" sz="1200" dirty="0" smtClean="0">
                          <a:solidFill>
                            <a:srgbClr val="000088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else: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</a:t>
                      </a:r>
                    </a:p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onsolas" pitchFamily="49" charset="0"/>
                        </a:rPr>
                        <a:t>    statement(s)</a:t>
                      </a:r>
                      <a:endParaRPr lang="en-US" sz="1200" dirty="0" smtClean="0">
                        <a:latin typeface="+mj-lt"/>
                        <a:cs typeface="Consolas" pitchFamily="49" charset="0"/>
                      </a:endParaRPr>
                    </a:p>
                  </a:txBody>
                  <a:tcPr marL="100375" marR="10037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27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latin typeface="+mj-lt"/>
                          <a:cs typeface="Arial" pitchFamily="34" charset="0"/>
                        </a:rPr>
                        <a:t>Useful functions for</a:t>
                      </a:r>
                      <a:r>
                        <a:rPr lang="en-US" sz="1200" baseline="0" dirty="0" smtClean="0">
                          <a:latin typeface="+mj-lt"/>
                          <a:cs typeface="Arial" pitchFamily="34" charset="0"/>
                        </a:rPr>
                        <a:t> sequencing:</a:t>
                      </a:r>
                    </a:p>
                  </a:txBody>
                  <a:tcPr marL="100375" marR="10037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941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baseline="0" dirty="0" smtClean="0">
                          <a:latin typeface="+mj-lt"/>
                          <a:cs typeface="Arial" pitchFamily="34" charset="0"/>
                        </a:rPr>
                        <a:t>range() / </a:t>
                      </a:r>
                      <a:r>
                        <a:rPr lang="en-US" sz="1200" baseline="0" dirty="0" err="1" smtClean="0">
                          <a:latin typeface="+mj-lt"/>
                          <a:cs typeface="Arial" pitchFamily="34" charset="0"/>
                        </a:rPr>
                        <a:t>xrange</a:t>
                      </a:r>
                      <a:r>
                        <a:rPr lang="en-US" sz="1200" baseline="0" dirty="0" smtClean="0">
                          <a:latin typeface="+mj-lt"/>
                          <a:cs typeface="Arial" pitchFamily="34" charset="0"/>
                        </a:rPr>
                        <a:t>(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baseline="0" dirty="0" smtClean="0">
                          <a:latin typeface="+mj-lt"/>
                          <a:cs typeface="Arial" pitchFamily="34" charset="0"/>
                        </a:rPr>
                        <a:t>enumerate()</a:t>
                      </a:r>
                      <a:endParaRPr lang="en-US" sz="1200" dirty="0" smtClean="0">
                        <a:latin typeface="+mj-lt"/>
                        <a:cs typeface="Arial" pitchFamily="34" charset="0"/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dirty="0" smtClean="0">
                          <a:latin typeface="+mj-lt"/>
                          <a:cs typeface="Arial" pitchFamily="34" charset="0"/>
                        </a:rPr>
                        <a:t>zip()</a:t>
                      </a:r>
                    </a:p>
                  </a:txBody>
                  <a:tcPr marL="100375" marR="100375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dirty="0" smtClean="0">
                          <a:latin typeface="+mj-lt"/>
                          <a:cs typeface="Arial" pitchFamily="34" charset="0"/>
                        </a:rPr>
                        <a:t>reversed(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dirty="0" smtClean="0">
                          <a:latin typeface="+mj-lt"/>
                          <a:cs typeface="Arial" pitchFamily="34" charset="0"/>
                        </a:rPr>
                        <a:t>sorted(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200" dirty="0" err="1" smtClean="0">
                          <a:latin typeface="+mj-lt"/>
                          <a:cs typeface="Arial" pitchFamily="34" charset="0"/>
                        </a:rPr>
                        <a:t>dct.iteritems</a:t>
                      </a:r>
                      <a:r>
                        <a:rPr lang="en-US" sz="1200" dirty="0" smtClean="0">
                          <a:latin typeface="+mj-lt"/>
                          <a:cs typeface="Arial" pitchFamily="34" charset="0"/>
                        </a:rPr>
                        <a:t>()</a:t>
                      </a:r>
                    </a:p>
                  </a:txBody>
                  <a:tcPr marL="100375" marR="10037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48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s…cont.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1377993"/>
              </p:ext>
            </p:extLst>
          </p:nvPr>
        </p:nvGraphicFramePr>
        <p:xfrm>
          <a:off x="476576" y="1685425"/>
          <a:ext cx="7693644" cy="257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5329"/>
                <a:gridCol w="5718315"/>
              </a:tblGrid>
              <a:tr h="367895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  <a:latin typeface="+mj-lt"/>
                        </a:rPr>
                        <a:t>Control Statement</a:t>
                      </a:r>
                    </a:p>
                  </a:txBody>
                  <a:tcPr marL="52851" marR="52851" marT="47625" marB="47625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L="52851" marR="52851" marT="47625" marB="47625"/>
                </a:tc>
              </a:tr>
              <a:tr h="578301">
                <a:tc>
                  <a:txBody>
                    <a:bodyPr/>
                    <a:lstStyle/>
                    <a:p>
                      <a:r>
                        <a:rPr lang="en-US" sz="1600" u="none" strike="noStrike" dirty="0" smtClean="0">
                          <a:effectLst/>
                          <a:latin typeface="+mj-lt"/>
                        </a:rPr>
                        <a:t>break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52851" marR="52851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Terminates the loop statement and transfers execution to the statement immediately following the loop.</a:t>
                      </a:r>
                    </a:p>
                  </a:txBody>
                  <a:tcPr marL="52851" marR="52851" marT="47625" marB="47625"/>
                </a:tc>
              </a:tr>
              <a:tr h="578301">
                <a:tc>
                  <a:txBody>
                    <a:bodyPr/>
                    <a:lstStyle/>
                    <a:p>
                      <a:r>
                        <a:rPr lang="en-US" sz="1600" u="none" strike="noStrike" dirty="0" smtClean="0">
                          <a:effectLst/>
                          <a:latin typeface="+mj-lt"/>
                        </a:rPr>
                        <a:t>continue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52851" marR="52851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Causes the loop to skip the remainder of its body and immediately retest its condition prior to reiterating.</a:t>
                      </a:r>
                    </a:p>
                  </a:txBody>
                  <a:tcPr marL="52851" marR="52851" marT="47625" marB="47625"/>
                </a:tc>
              </a:tr>
              <a:tr h="578301">
                <a:tc>
                  <a:txBody>
                    <a:bodyPr/>
                    <a:lstStyle/>
                    <a:p>
                      <a:r>
                        <a:rPr lang="en-US" sz="1600" u="none" strike="noStrike" dirty="0" smtClean="0">
                          <a:effectLst/>
                          <a:latin typeface="+mj-lt"/>
                        </a:rPr>
                        <a:t>pass</a:t>
                      </a:r>
                      <a:endParaRPr lang="en-US" sz="1600" b="1" dirty="0">
                        <a:effectLst/>
                        <a:latin typeface="+mj-lt"/>
                      </a:endParaRPr>
                    </a:p>
                  </a:txBody>
                  <a:tcPr marL="52851" marR="52851" marT="47625" marB="47625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/>
                          <a:latin typeface="+mj-lt"/>
                        </a:rPr>
                        <a:t>The pass statement in Python is used when a statement is required syntactically but you do not want any command or code to execute.</a:t>
                      </a:r>
                    </a:p>
                  </a:txBody>
                  <a:tcPr marL="52851" marR="52851" marT="47625" marB="4762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47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Pyth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Python is a</a:t>
            </a: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High level programming language</a:t>
            </a: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Interpreted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Interactive</a:t>
            </a: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Object Oriented</a:t>
            </a:r>
          </a:p>
          <a:p>
            <a:r>
              <a:rPr lang="en-US" sz="2000" dirty="0">
                <a:solidFill>
                  <a:schemeClr val="tx1"/>
                </a:solidFill>
              </a:rPr>
              <a:t>Python development started in December 1989. Designed by and principal author Guido van Rossum</a:t>
            </a:r>
            <a:endParaRPr lang="en-US" sz="2000" i="1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Influences from other </a:t>
            </a:r>
            <a:r>
              <a:rPr lang="en-US" sz="2000" dirty="0" smtClean="0">
                <a:solidFill>
                  <a:schemeClr val="tx1"/>
                </a:solidFill>
              </a:rPr>
              <a:t>languages</a:t>
            </a:r>
            <a:endParaRPr lang="en-US" sz="2000" dirty="0">
              <a:solidFill>
                <a:schemeClr val="tx1"/>
              </a:solidFill>
            </a:endParaRPr>
          </a:p>
          <a:p>
            <a:pPr lvl="1"/>
            <a:r>
              <a:rPr lang="en-US" sz="1400" b="1" dirty="0">
                <a:solidFill>
                  <a:schemeClr val="tx1"/>
                </a:solidFill>
              </a:rPr>
              <a:t>ABC : Core syntax directly inherited</a:t>
            </a:r>
          </a:p>
          <a:p>
            <a:pPr lvl="1"/>
            <a:r>
              <a:rPr lang="en-US" sz="1400" b="1" dirty="0">
                <a:solidFill>
                  <a:schemeClr val="tx1"/>
                </a:solidFill>
              </a:rPr>
              <a:t>Bourne shell : Interactive Interpreter</a:t>
            </a:r>
          </a:p>
          <a:p>
            <a:pPr lvl="1"/>
            <a:r>
              <a:rPr lang="en-US" sz="1400" b="1" dirty="0">
                <a:solidFill>
                  <a:schemeClr val="tx1"/>
                </a:solidFill>
              </a:rPr>
              <a:t>Lisp &amp; Haskell : Features such as list comprehensions, map functions</a:t>
            </a:r>
          </a:p>
          <a:p>
            <a:pPr lvl="1"/>
            <a:r>
              <a:rPr lang="en-US" sz="1400" b="1" dirty="0">
                <a:solidFill>
                  <a:schemeClr val="tx1"/>
                </a:solidFill>
              </a:rPr>
              <a:t>Perl : Regular expressions, shell </a:t>
            </a:r>
            <a:r>
              <a:rPr lang="en-US" sz="1400" b="1" dirty="0" smtClean="0">
                <a:solidFill>
                  <a:schemeClr val="tx1"/>
                </a:solidFill>
              </a:rPr>
              <a:t>script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sz="18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387226" y="5183049"/>
            <a:ext cx="7589520" cy="1188720"/>
            <a:chOff x="464163" y="2570786"/>
            <a:chExt cx="8258893" cy="1540614"/>
          </a:xfrm>
        </p:grpSpPr>
        <p:cxnSp>
          <p:nvCxnSpPr>
            <p:cNvPr id="5" name="Straight Connector 4"/>
            <p:cNvCxnSpPr/>
            <p:nvPr>
              <p:custDataLst>
                <p:tags r:id="rId1"/>
              </p:custDataLst>
            </p:nvPr>
          </p:nvCxnSpPr>
          <p:spPr>
            <a:xfrm>
              <a:off x="1470320" y="2654531"/>
              <a:ext cx="0" cy="1075869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>
              <p:custDataLst>
                <p:tags r:id="rId2"/>
              </p:custDataLst>
            </p:nvPr>
          </p:nvCxnSpPr>
          <p:spPr>
            <a:xfrm>
              <a:off x="2512097" y="3206348"/>
              <a:ext cx="0" cy="524052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>
              <p:custDataLst>
                <p:tags r:id="rId3"/>
              </p:custDataLst>
            </p:nvPr>
          </p:nvCxnSpPr>
          <p:spPr>
            <a:xfrm>
              <a:off x="4279269" y="3206348"/>
              <a:ext cx="0" cy="524052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>
              <p:custDataLst>
                <p:tags r:id="rId4"/>
              </p:custDataLst>
            </p:nvPr>
          </p:nvCxnSpPr>
          <p:spPr>
            <a:xfrm>
              <a:off x="6395601" y="2645591"/>
              <a:ext cx="0" cy="1084809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>
              <p:custDataLst>
                <p:tags r:id="rId5"/>
              </p:custDataLst>
            </p:nvPr>
          </p:nvCxnSpPr>
          <p:spPr>
            <a:xfrm>
              <a:off x="6806754" y="3206348"/>
              <a:ext cx="0" cy="524052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>
              <p:custDataLst>
                <p:tags r:id="rId6"/>
              </p:custDataLst>
            </p:nvPr>
          </p:nvCxnSpPr>
          <p:spPr>
            <a:xfrm>
              <a:off x="7770147" y="3206348"/>
              <a:ext cx="0" cy="524052"/>
            </a:xfrm>
            <a:prstGeom prst="line">
              <a:avLst/>
            </a:prstGeom>
            <a:ln w="15875">
              <a:solidFill>
                <a:schemeClr val="accent1"/>
              </a:solidFill>
              <a:headEnd type="none"/>
              <a:tailEnd type="none"/>
            </a:ln>
            <a:effectLst>
              <a:outerShdw blurRad="63500">
                <a:scrgbClr r="0" g="0" b="0">
                  <a:alpha val="50000"/>
                </a:scrgb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/>
            <p:cNvSpPr/>
            <p:nvPr>
              <p:custDataLst>
                <p:tags r:id="rId7"/>
              </p:custDataLst>
            </p:nvPr>
          </p:nvSpPr>
          <p:spPr>
            <a:xfrm>
              <a:off x="1188720" y="3730400"/>
              <a:ext cx="6766560" cy="381000"/>
            </a:xfrm>
            <a:prstGeom prst="rect">
              <a:avLst/>
            </a:prstGeom>
            <a:gradFill flip="none" rotWithShape="1">
              <a:gsLst>
                <a:gs pos="100000">
                  <a:srgbClr val="02B2EE"/>
                </a:gs>
                <a:gs pos="0">
                  <a:srgbClr val="02B2EE"/>
                </a:gs>
              </a:gsLst>
              <a:lin ang="5400000" scaled="1"/>
              <a:tileRect/>
            </a:gradFill>
            <a:ln w="25400" cap="flat" cmpd="sng" algn="ctr">
              <a:noFill/>
              <a:prstDash val="solid"/>
            </a:ln>
            <a:effectLst>
              <a:reflection blurRad="6350" stA="50000" endA="300" endPos="55500" dist="50800" dir="5400000" sy="-100000" algn="bl" rotWithShape="0"/>
            </a:effectLst>
            <a:scene3d>
              <a:camera prst="orthographicFront"/>
              <a:lightRig rig="threePt" dir="t">
                <a:rot lat="0" lon="0" rev="8700000"/>
              </a:lightRig>
            </a:scene3d>
            <a:sp3d>
              <a:bevelT w="165100" h="1905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TextBox 11"/>
            <p:cNvSpPr txBox="1"/>
            <p:nvPr>
              <p:custDataLst>
                <p:tags r:id="rId8"/>
              </p:custDataLst>
            </p:nvPr>
          </p:nvSpPr>
          <p:spPr>
            <a:xfrm>
              <a:off x="464163" y="3730400"/>
              <a:ext cx="724557" cy="381000"/>
            </a:xfrm>
            <a:prstGeom prst="rect">
              <a:avLst/>
            </a:prstGeom>
            <a:noFill/>
          </p:spPr>
          <p:txBody>
            <a:bodyPr vert="horz" wrap="none" lIns="127000" tIns="0" rIns="127000" bIns="0" rtlCol="0" anchor="ctr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FF4500"/>
                  </a:solidFill>
                </a:rPr>
                <a:t>1989</a:t>
              </a:r>
              <a:endParaRPr lang="en-US" b="1" dirty="0">
                <a:solidFill>
                  <a:srgbClr val="FF4500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9"/>
              </p:custDataLst>
            </p:nvPr>
          </p:nvSpPr>
          <p:spPr>
            <a:xfrm>
              <a:off x="118872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1989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14" name="Straight Connector 13"/>
            <p:cNvCxnSpPr/>
            <p:nvPr>
              <p:custDataLst>
                <p:tags r:id="rId10"/>
              </p:custDataLst>
            </p:nvPr>
          </p:nvCxnSpPr>
          <p:spPr>
            <a:xfrm>
              <a:off x="194056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>
              <p:custDataLst>
                <p:tags r:id="rId11"/>
              </p:custDataLst>
            </p:nvPr>
          </p:nvSpPr>
          <p:spPr>
            <a:xfrm>
              <a:off x="194056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1992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16" name="Straight Connector 15"/>
            <p:cNvCxnSpPr/>
            <p:nvPr>
              <p:custDataLst>
                <p:tags r:id="rId12"/>
              </p:custDataLst>
            </p:nvPr>
          </p:nvCxnSpPr>
          <p:spPr>
            <a:xfrm>
              <a:off x="269240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>
              <p:custDataLst>
                <p:tags r:id="rId13"/>
              </p:custDataLst>
            </p:nvPr>
          </p:nvSpPr>
          <p:spPr>
            <a:xfrm>
              <a:off x="269240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1995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18" name="Straight Connector 17"/>
            <p:cNvCxnSpPr/>
            <p:nvPr>
              <p:custDataLst>
                <p:tags r:id="rId14"/>
              </p:custDataLst>
            </p:nvPr>
          </p:nvCxnSpPr>
          <p:spPr>
            <a:xfrm>
              <a:off x="344424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>
              <p:custDataLst>
                <p:tags r:id="rId15"/>
              </p:custDataLst>
            </p:nvPr>
          </p:nvSpPr>
          <p:spPr>
            <a:xfrm>
              <a:off x="344424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1998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20" name="Straight Connector 19"/>
            <p:cNvCxnSpPr/>
            <p:nvPr>
              <p:custDataLst>
                <p:tags r:id="rId16"/>
              </p:custDataLst>
            </p:nvPr>
          </p:nvCxnSpPr>
          <p:spPr>
            <a:xfrm>
              <a:off x="419608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>
              <p:custDataLst>
                <p:tags r:id="rId17"/>
              </p:custDataLst>
            </p:nvPr>
          </p:nvSpPr>
          <p:spPr>
            <a:xfrm>
              <a:off x="419608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2001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22" name="Straight Connector 21"/>
            <p:cNvCxnSpPr/>
            <p:nvPr>
              <p:custDataLst>
                <p:tags r:id="rId18"/>
              </p:custDataLst>
            </p:nvPr>
          </p:nvCxnSpPr>
          <p:spPr>
            <a:xfrm>
              <a:off x="494792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>
              <p:custDataLst>
                <p:tags r:id="rId19"/>
              </p:custDataLst>
            </p:nvPr>
          </p:nvSpPr>
          <p:spPr>
            <a:xfrm>
              <a:off x="494792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2004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24" name="Straight Connector 23"/>
            <p:cNvCxnSpPr/>
            <p:nvPr>
              <p:custDataLst>
                <p:tags r:id="rId20"/>
              </p:custDataLst>
            </p:nvPr>
          </p:nvCxnSpPr>
          <p:spPr>
            <a:xfrm>
              <a:off x="569976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>
              <p:custDataLst>
                <p:tags r:id="rId21"/>
              </p:custDataLst>
            </p:nvPr>
          </p:nvSpPr>
          <p:spPr>
            <a:xfrm>
              <a:off x="569976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2007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26" name="Straight Connector 25"/>
            <p:cNvCxnSpPr/>
            <p:nvPr>
              <p:custDataLst>
                <p:tags r:id="rId22"/>
              </p:custDataLst>
            </p:nvPr>
          </p:nvCxnSpPr>
          <p:spPr>
            <a:xfrm>
              <a:off x="6451600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>
              <p:custDataLst>
                <p:tags r:id="rId23"/>
              </p:custDataLst>
            </p:nvPr>
          </p:nvSpPr>
          <p:spPr>
            <a:xfrm>
              <a:off x="6451600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2010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cxnSp>
          <p:nvCxnSpPr>
            <p:cNvPr id="28" name="Straight Connector 27"/>
            <p:cNvCxnSpPr/>
            <p:nvPr>
              <p:custDataLst>
                <p:tags r:id="rId24"/>
              </p:custDataLst>
            </p:nvPr>
          </p:nvCxnSpPr>
          <p:spPr>
            <a:xfrm>
              <a:off x="7203439" y="3793900"/>
              <a:ext cx="0" cy="254000"/>
            </a:xfrm>
            <a:prstGeom prst="line">
              <a:avLst/>
            </a:prstGeom>
            <a:ln w="9525" cap="flat" cmpd="sng" algn="ctr">
              <a:solidFill>
                <a:schemeClr val="lt1">
                  <a:alpha val="7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>
              <p:custDataLst>
                <p:tags r:id="rId25"/>
              </p:custDataLst>
            </p:nvPr>
          </p:nvSpPr>
          <p:spPr>
            <a:xfrm>
              <a:off x="7203439" y="3730400"/>
              <a:ext cx="751840" cy="38100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 anchorCtr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/>
                </a:rPr>
                <a:t>2013</a:t>
              </a:r>
              <a:endParaRPr lang="en-US" sz="1200" dirty="0">
                <a:solidFill>
                  <a:schemeClr val="bg1"/>
                </a:solidFill>
                <a:latin typeface="Calibri"/>
              </a:endParaRPr>
            </a:p>
          </p:txBody>
        </p:sp>
        <p:sp>
          <p:nvSpPr>
            <p:cNvPr id="30" name="TextBox 29"/>
            <p:cNvSpPr txBox="1"/>
            <p:nvPr>
              <p:custDataLst>
                <p:tags r:id="rId26"/>
              </p:custDataLst>
            </p:nvPr>
          </p:nvSpPr>
          <p:spPr>
            <a:xfrm>
              <a:off x="7955280" y="3730400"/>
              <a:ext cx="724557" cy="381000"/>
            </a:xfrm>
            <a:prstGeom prst="rect">
              <a:avLst/>
            </a:prstGeom>
            <a:noFill/>
          </p:spPr>
          <p:txBody>
            <a:bodyPr vert="horz" wrap="none" lIns="127000" tIns="0" rIns="127000" bIns="0" rtlCol="0" anchor="ctr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FF4500"/>
                  </a:solidFill>
                </a:rPr>
                <a:t>2014</a:t>
              </a:r>
              <a:endParaRPr lang="en-US" b="1" dirty="0">
                <a:solidFill>
                  <a:srgbClr val="FF4500"/>
                </a:solidFill>
              </a:endParaRPr>
            </a:p>
          </p:txBody>
        </p:sp>
        <p:sp>
          <p:nvSpPr>
            <p:cNvPr id="31" name="Flowchart: Merge 30"/>
            <p:cNvSpPr/>
            <p:nvPr>
              <p:custDataLst>
                <p:tags r:id="rId27"/>
              </p:custDataLst>
            </p:nvPr>
          </p:nvSpPr>
          <p:spPr>
            <a:xfrm rot="16200000">
              <a:off x="7795547" y="3206348"/>
              <a:ext cx="165100" cy="165100"/>
            </a:xfrm>
            <a:prstGeom prst="flowChartMerge">
              <a:avLst/>
            </a:prstGeom>
            <a:solidFill>
              <a:schemeClr val="accent5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TextBox 31"/>
            <p:cNvSpPr txBox="1"/>
            <p:nvPr>
              <p:custDataLst>
                <p:tags r:id="rId28"/>
              </p:custDataLst>
            </p:nvPr>
          </p:nvSpPr>
          <p:spPr>
            <a:xfrm>
              <a:off x="8024147" y="3131543"/>
              <a:ext cx="182742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3.4</a:t>
              </a:r>
              <a:endParaRPr lang="en-US" sz="1100" b="1" dirty="0"/>
            </a:p>
          </p:txBody>
        </p:sp>
        <p:sp>
          <p:nvSpPr>
            <p:cNvPr id="33" name="TextBox 32"/>
            <p:cNvSpPr txBox="1"/>
            <p:nvPr>
              <p:custDataLst>
                <p:tags r:id="rId29"/>
              </p:custDataLst>
            </p:nvPr>
          </p:nvSpPr>
          <p:spPr>
            <a:xfrm>
              <a:off x="8024147" y="3292365"/>
              <a:ext cx="698909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Mar 16, 2014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  <p:sp>
          <p:nvSpPr>
            <p:cNvPr id="34" name="Flowchart: Merge 33"/>
            <p:cNvSpPr/>
            <p:nvPr>
              <p:custDataLst>
                <p:tags r:id="rId30"/>
              </p:custDataLst>
            </p:nvPr>
          </p:nvSpPr>
          <p:spPr>
            <a:xfrm rot="16200000">
              <a:off x="6832154" y="3206348"/>
              <a:ext cx="165100" cy="165100"/>
            </a:xfrm>
            <a:prstGeom prst="flowChartMerg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TextBox 34"/>
            <p:cNvSpPr txBox="1"/>
            <p:nvPr>
              <p:custDataLst>
                <p:tags r:id="rId31"/>
              </p:custDataLst>
            </p:nvPr>
          </p:nvSpPr>
          <p:spPr>
            <a:xfrm>
              <a:off x="7060754" y="3131543"/>
              <a:ext cx="182742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2.7</a:t>
              </a:r>
              <a:endParaRPr lang="en-US" sz="1100" b="1" dirty="0"/>
            </a:p>
          </p:txBody>
        </p:sp>
        <p:sp>
          <p:nvSpPr>
            <p:cNvPr id="36" name="TextBox 35"/>
            <p:cNvSpPr txBox="1"/>
            <p:nvPr>
              <p:custDataLst>
                <p:tags r:id="rId32"/>
              </p:custDataLst>
            </p:nvPr>
          </p:nvSpPr>
          <p:spPr>
            <a:xfrm>
              <a:off x="7060754" y="3292365"/>
              <a:ext cx="556243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Jul 3, 2010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  <p:sp>
          <p:nvSpPr>
            <p:cNvPr id="37" name="Flowchart: Merge 36"/>
            <p:cNvSpPr/>
            <p:nvPr>
              <p:custDataLst>
                <p:tags r:id="rId33"/>
              </p:custDataLst>
            </p:nvPr>
          </p:nvSpPr>
          <p:spPr>
            <a:xfrm rot="16200000">
              <a:off x="6421001" y="2645591"/>
              <a:ext cx="165099" cy="165100"/>
            </a:xfrm>
            <a:prstGeom prst="flowChartMerge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TextBox 37"/>
            <p:cNvSpPr txBox="1"/>
            <p:nvPr>
              <p:custDataLst>
                <p:tags r:id="rId34"/>
              </p:custDataLst>
            </p:nvPr>
          </p:nvSpPr>
          <p:spPr>
            <a:xfrm>
              <a:off x="6649600" y="2570786"/>
              <a:ext cx="182742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3.0</a:t>
              </a:r>
              <a:endParaRPr lang="en-US" sz="1100" b="1" dirty="0"/>
            </a:p>
          </p:txBody>
        </p:sp>
        <p:sp>
          <p:nvSpPr>
            <p:cNvPr id="39" name="TextBox 38"/>
            <p:cNvSpPr txBox="1"/>
            <p:nvPr>
              <p:custDataLst>
                <p:tags r:id="rId35"/>
              </p:custDataLst>
            </p:nvPr>
          </p:nvSpPr>
          <p:spPr>
            <a:xfrm>
              <a:off x="6649600" y="2731608"/>
              <a:ext cx="615553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Dec 3, 2008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  <p:sp>
          <p:nvSpPr>
            <p:cNvPr id="40" name="Flowchart: Merge 39"/>
            <p:cNvSpPr/>
            <p:nvPr>
              <p:custDataLst>
                <p:tags r:id="rId36"/>
              </p:custDataLst>
            </p:nvPr>
          </p:nvSpPr>
          <p:spPr>
            <a:xfrm rot="16200000">
              <a:off x="4304669" y="3206348"/>
              <a:ext cx="165100" cy="165100"/>
            </a:xfrm>
            <a:prstGeom prst="flowChartMerg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TextBox 40"/>
            <p:cNvSpPr txBox="1"/>
            <p:nvPr>
              <p:custDataLst>
                <p:tags r:id="rId37"/>
              </p:custDataLst>
            </p:nvPr>
          </p:nvSpPr>
          <p:spPr>
            <a:xfrm>
              <a:off x="4533269" y="3131543"/>
              <a:ext cx="182742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2.0</a:t>
              </a:r>
              <a:endParaRPr lang="en-US" sz="1100" b="1" dirty="0"/>
            </a:p>
          </p:txBody>
        </p:sp>
        <p:sp>
          <p:nvSpPr>
            <p:cNvPr id="42" name="TextBox 41"/>
            <p:cNvSpPr txBox="1"/>
            <p:nvPr>
              <p:custDataLst>
                <p:tags r:id="rId38"/>
              </p:custDataLst>
            </p:nvPr>
          </p:nvSpPr>
          <p:spPr>
            <a:xfrm>
              <a:off x="4533269" y="3292365"/>
              <a:ext cx="666849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Oct 16, 2000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  <p:sp>
          <p:nvSpPr>
            <p:cNvPr id="43" name="Flowchart: Merge 42"/>
            <p:cNvSpPr/>
            <p:nvPr>
              <p:custDataLst>
                <p:tags r:id="rId39"/>
              </p:custDataLst>
            </p:nvPr>
          </p:nvSpPr>
          <p:spPr>
            <a:xfrm rot="16200000">
              <a:off x="2537497" y="3206348"/>
              <a:ext cx="165100" cy="165100"/>
            </a:xfrm>
            <a:prstGeom prst="flowChartMerg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TextBox 43"/>
            <p:cNvSpPr txBox="1"/>
            <p:nvPr>
              <p:custDataLst>
                <p:tags r:id="rId40"/>
              </p:custDataLst>
            </p:nvPr>
          </p:nvSpPr>
          <p:spPr>
            <a:xfrm>
              <a:off x="2766097" y="3131543"/>
              <a:ext cx="182742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1.0</a:t>
              </a:r>
              <a:endParaRPr lang="en-US" sz="1100" b="1" dirty="0"/>
            </a:p>
          </p:txBody>
        </p:sp>
        <p:sp>
          <p:nvSpPr>
            <p:cNvPr id="45" name="TextBox 44"/>
            <p:cNvSpPr txBox="1"/>
            <p:nvPr>
              <p:custDataLst>
                <p:tags r:id="rId41"/>
              </p:custDataLst>
            </p:nvPr>
          </p:nvSpPr>
          <p:spPr>
            <a:xfrm>
              <a:off x="2766097" y="3292365"/>
              <a:ext cx="588303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Jan 1, 1994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  <p:sp>
          <p:nvSpPr>
            <p:cNvPr id="46" name="Flowchart: Merge 45"/>
            <p:cNvSpPr/>
            <p:nvPr>
              <p:custDataLst>
                <p:tags r:id="rId42"/>
              </p:custDataLst>
            </p:nvPr>
          </p:nvSpPr>
          <p:spPr>
            <a:xfrm rot="16200000">
              <a:off x="1495720" y="2654531"/>
              <a:ext cx="165100" cy="165100"/>
            </a:xfrm>
            <a:prstGeom prst="flowChartMerge">
              <a:avLst/>
            </a:prstGeom>
            <a:solidFill>
              <a:srgbClr val="0072BC"/>
            </a:solidFill>
            <a:ln w="25400" cap="flat" cmpd="sng" algn="ctr">
              <a:noFill/>
              <a:prstDash val="solid"/>
            </a:ln>
            <a:effectLst>
              <a:outerShdw blurRad="63500">
                <a:scrgbClr r="0" g="0" b="0">
                  <a:alpha val="50000"/>
                </a:scrgbClr>
              </a:outerShdw>
            </a:effectLst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TextBox 46"/>
            <p:cNvSpPr txBox="1"/>
            <p:nvPr>
              <p:custDataLst>
                <p:tags r:id="rId43"/>
              </p:custDataLst>
            </p:nvPr>
          </p:nvSpPr>
          <p:spPr>
            <a:xfrm>
              <a:off x="1724320" y="2579726"/>
              <a:ext cx="1256754" cy="135422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b="1" dirty="0" smtClean="0"/>
                <a:t>Development Started</a:t>
              </a:r>
              <a:endParaRPr lang="en-US" sz="1100" b="1" dirty="0"/>
            </a:p>
          </p:txBody>
        </p:sp>
        <p:sp>
          <p:nvSpPr>
            <p:cNvPr id="48" name="TextBox 47"/>
            <p:cNvSpPr txBox="1"/>
            <p:nvPr>
              <p:custDataLst>
                <p:tags r:id="rId44"/>
              </p:custDataLst>
            </p:nvPr>
          </p:nvSpPr>
          <p:spPr>
            <a:xfrm>
              <a:off x="1724320" y="2740548"/>
              <a:ext cx="615553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 anchorCtr="0">
              <a:spAutoFit/>
            </a:bodyPr>
            <a:lstStyle/>
            <a:p>
              <a:r>
                <a:rPr lang="en-US" sz="1000" dirty="0" smtClean="0">
                  <a:solidFill>
                    <a:srgbClr val="1F497E"/>
                  </a:solidFill>
                </a:rPr>
                <a:t>Dec 4, 1989</a:t>
              </a:r>
              <a:endParaRPr lang="en-US" sz="1000" dirty="0">
                <a:solidFill>
                  <a:srgbClr val="1F497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78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op programming languages</a:t>
            </a:r>
            <a:endParaRPr lang="en-US" dirty="0"/>
          </a:p>
        </p:txBody>
      </p:sp>
      <p:pic>
        <p:nvPicPr>
          <p:cNvPr id="10242" name="Picture 2" descr="screen shot of the TPL app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1600201"/>
            <a:ext cx="4156075" cy="382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Picture 1" descr="chan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238" y="16002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han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238" y="16002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han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238" y="16002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han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238" y="16002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23516" y="5942531"/>
            <a:ext cx="2051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IEEE Spectrum</a:t>
            </a:r>
            <a:endParaRPr lang="en-US" dirty="0"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704718" y="5942531"/>
            <a:ext cx="2394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TIOBE Index</a:t>
            </a:r>
            <a:endParaRPr lang="en-US" dirty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6263" y="1832830"/>
            <a:ext cx="3731172" cy="37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89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 of Pyth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Feature highlights </a:t>
            </a:r>
            <a:r>
              <a:rPr lang="en-US" sz="2000" dirty="0" smtClean="0">
                <a:solidFill>
                  <a:schemeClr val="tx1"/>
                </a:solidFill>
              </a:rPr>
              <a:t>include:</a:t>
            </a:r>
          </a:p>
          <a:p>
            <a:pPr lvl="1">
              <a:defRPr/>
            </a:pPr>
            <a:r>
              <a:rPr lang="en-US" sz="1800" b="1" dirty="0">
                <a:solidFill>
                  <a:schemeClr val="tx1"/>
                </a:solidFill>
              </a:rPr>
              <a:t>Easy-to-learn</a:t>
            </a:r>
            <a:r>
              <a:rPr lang="en-US" sz="1800" dirty="0">
                <a:solidFill>
                  <a:schemeClr val="tx1"/>
                </a:solidFill>
              </a:rPr>
              <a:t>: Python has relatively few keywords, simple structure, and a clearly defined syntax</a:t>
            </a:r>
            <a:r>
              <a:rPr lang="en-US" sz="1800" dirty="0" smtClean="0">
                <a:solidFill>
                  <a:schemeClr val="tx1"/>
                </a:solidFill>
              </a:rPr>
              <a:t>.</a:t>
            </a:r>
            <a:endParaRPr lang="en-US" sz="1800" dirty="0">
              <a:solidFill>
                <a:schemeClr val="tx1"/>
              </a:solidFill>
            </a:endParaRPr>
          </a:p>
          <a:p>
            <a:pPr lvl="1">
              <a:defRPr/>
            </a:pPr>
            <a:r>
              <a:rPr lang="en-US" sz="1800" b="1" dirty="0">
                <a:solidFill>
                  <a:schemeClr val="tx1"/>
                </a:solidFill>
              </a:rPr>
              <a:t>Easy-to-read</a:t>
            </a:r>
            <a:r>
              <a:rPr lang="en-US" sz="1800" dirty="0">
                <a:solidFill>
                  <a:schemeClr val="tx1"/>
                </a:solidFill>
              </a:rPr>
              <a:t>: Python code is clearly defined and if well written visually simple to read and understand.</a:t>
            </a:r>
          </a:p>
          <a:p>
            <a:pPr lvl="1">
              <a:defRPr/>
            </a:pPr>
            <a:r>
              <a:rPr lang="en-US" sz="1800" b="1" dirty="0">
                <a:solidFill>
                  <a:schemeClr val="tx1"/>
                </a:solidFill>
              </a:rPr>
              <a:t>Easy-to-maintain</a:t>
            </a:r>
            <a:r>
              <a:rPr lang="en-US" sz="1800" dirty="0">
                <a:solidFill>
                  <a:schemeClr val="tx1"/>
                </a:solidFill>
              </a:rPr>
              <a:t>: Python's success is that its source code is fairly easy-to-maintain.</a:t>
            </a:r>
          </a:p>
          <a:p>
            <a:pPr lvl="1">
              <a:defRPr/>
            </a:pPr>
            <a:r>
              <a:rPr lang="en-US" sz="1800" b="1" dirty="0">
                <a:solidFill>
                  <a:schemeClr val="tx1"/>
                </a:solidFill>
              </a:rPr>
              <a:t>A broad standard library</a:t>
            </a:r>
            <a:r>
              <a:rPr lang="en-US" sz="1800" dirty="0">
                <a:solidFill>
                  <a:schemeClr val="tx1"/>
                </a:solidFill>
              </a:rPr>
              <a:t>: One of Python's greatest strengths is the bulk of the library is very portable and cross-platform compatible on UNIX, Windows, and Macintosh.</a:t>
            </a:r>
          </a:p>
          <a:p>
            <a:pPr lvl="1">
              <a:defRPr/>
            </a:pPr>
            <a:r>
              <a:rPr lang="en-US" sz="1800" b="1" dirty="0">
                <a:solidFill>
                  <a:schemeClr val="tx1"/>
                </a:solidFill>
              </a:rPr>
              <a:t>Interactive Mode</a:t>
            </a:r>
            <a:r>
              <a:rPr lang="en-US" sz="1800" dirty="0">
                <a:solidFill>
                  <a:schemeClr val="tx1"/>
                </a:solidFill>
              </a:rPr>
              <a:t>: Support for an interactive mode in which you can enter results from a terminal right to the language, allowing interactive testing and debugging of snippets of code.</a:t>
            </a:r>
          </a:p>
          <a:p>
            <a:pPr lvl="1"/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01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 of Pyth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Feature highlights </a:t>
            </a:r>
            <a:r>
              <a:rPr lang="en-US" sz="2000" dirty="0" smtClean="0">
                <a:solidFill>
                  <a:schemeClr val="tx1"/>
                </a:solidFill>
              </a:rPr>
              <a:t>include:</a:t>
            </a:r>
          </a:p>
          <a:p>
            <a:pPr lvl="1"/>
            <a:r>
              <a:rPr lang="en-US" sz="1800" b="1" dirty="0">
                <a:solidFill>
                  <a:schemeClr val="tx1"/>
                </a:solidFill>
              </a:rPr>
              <a:t>Portable</a:t>
            </a:r>
            <a:r>
              <a:rPr lang="en-US" sz="1800" dirty="0">
                <a:solidFill>
                  <a:schemeClr val="tx1"/>
                </a:solidFill>
              </a:rPr>
              <a:t>: Python can run on a wide variety of hardware platforms and has the same interface on all platforms.</a:t>
            </a:r>
          </a:p>
          <a:p>
            <a:pPr lvl="1"/>
            <a:r>
              <a:rPr lang="en-US" sz="1800" b="1" dirty="0">
                <a:solidFill>
                  <a:schemeClr val="tx1"/>
                </a:solidFill>
              </a:rPr>
              <a:t>Extendable</a:t>
            </a:r>
            <a:r>
              <a:rPr lang="en-US" sz="1800" dirty="0">
                <a:solidFill>
                  <a:schemeClr val="tx1"/>
                </a:solidFill>
              </a:rPr>
              <a:t>: You can add low-level modules to the Python interpreter. These modules enable programmers to add to or customize their tools to be more efficient.</a:t>
            </a:r>
          </a:p>
          <a:p>
            <a:pPr lvl="1"/>
            <a:r>
              <a:rPr lang="en-US" sz="1800" b="1" dirty="0">
                <a:solidFill>
                  <a:schemeClr val="tx1"/>
                </a:solidFill>
              </a:rPr>
              <a:t>Database Aware</a:t>
            </a:r>
            <a:r>
              <a:rPr lang="en-US" sz="1800" dirty="0">
                <a:solidFill>
                  <a:schemeClr val="tx1"/>
                </a:solidFill>
              </a:rPr>
              <a:t>: Python provides interfaces to all major commercial databases.</a:t>
            </a:r>
          </a:p>
          <a:p>
            <a:pPr lvl="1"/>
            <a:r>
              <a:rPr lang="en-US" sz="1800" b="1" dirty="0">
                <a:solidFill>
                  <a:schemeClr val="tx1"/>
                </a:solidFill>
              </a:rPr>
              <a:t>GUI Programming</a:t>
            </a:r>
            <a:r>
              <a:rPr lang="en-US" sz="1800" dirty="0">
                <a:solidFill>
                  <a:schemeClr val="tx1"/>
                </a:solidFill>
              </a:rPr>
              <a:t>: Python supports GUI applications that can be created and ported to many system calls, libraries, and windows systems, such as Windows MFC, Macintosh, and the X Window system of Unix</a:t>
            </a:r>
            <a:r>
              <a:rPr lang="en-US" sz="1800" dirty="0" smtClean="0">
                <a:solidFill>
                  <a:schemeClr val="tx1"/>
                </a:solidFill>
              </a:rPr>
              <a:t>.</a:t>
            </a:r>
          </a:p>
          <a:p>
            <a:pPr lvl="1"/>
            <a:r>
              <a:rPr lang="en-US" sz="1800" b="1" dirty="0" smtClean="0">
                <a:solidFill>
                  <a:schemeClr val="tx1"/>
                </a:solidFill>
              </a:rPr>
              <a:t>CGI Programming</a:t>
            </a:r>
            <a:r>
              <a:rPr lang="en-US" sz="1800" dirty="0" smtClean="0">
                <a:solidFill>
                  <a:schemeClr val="tx1"/>
                </a:solidFill>
              </a:rPr>
              <a:t>: Supports server and client side scripting, many libraries and modules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b="1" dirty="0">
                <a:solidFill>
                  <a:schemeClr val="tx1"/>
                </a:solidFill>
              </a:rPr>
              <a:t>Scalable</a:t>
            </a:r>
            <a:r>
              <a:rPr lang="en-US" sz="1800" dirty="0">
                <a:solidFill>
                  <a:schemeClr val="tx1"/>
                </a:solidFill>
              </a:rPr>
              <a:t>: Python provides a better structure and support for large programs than shell scripting.</a:t>
            </a:r>
          </a:p>
          <a:p>
            <a:pPr lvl="1"/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66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 of Pyth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>
                <a:solidFill>
                  <a:schemeClr val="tx1"/>
                </a:solidFill>
              </a:rPr>
              <a:t>Important </a:t>
            </a:r>
            <a:r>
              <a:rPr lang="en-US" sz="2000" dirty="0">
                <a:solidFill>
                  <a:schemeClr val="tx1"/>
                </a:solidFill>
              </a:rPr>
              <a:t>structural features that make it an efficient programming tool</a:t>
            </a:r>
            <a:r>
              <a:rPr lang="en-US" sz="2000" dirty="0" smtClean="0">
                <a:solidFill>
                  <a:schemeClr val="tx1"/>
                </a:solidFill>
              </a:rPr>
              <a:t>: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Built-in high level data types: strings, lists, dictionaries, etc.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The usual control structures if, if-else, if-</a:t>
            </a:r>
            <a:r>
              <a:rPr lang="en-US" sz="1800" dirty="0" err="1">
                <a:solidFill>
                  <a:schemeClr val="tx1"/>
                </a:solidFill>
              </a:rPr>
              <a:t>elif</a:t>
            </a:r>
            <a:r>
              <a:rPr lang="en-US" sz="1800" dirty="0">
                <a:solidFill>
                  <a:schemeClr val="tx1"/>
                </a:solidFill>
              </a:rPr>
              <a:t>-else, </a:t>
            </a:r>
            <a:r>
              <a:rPr lang="en-US" sz="1800" dirty="0" smtClean="0">
                <a:solidFill>
                  <a:schemeClr val="tx1"/>
                </a:solidFill>
              </a:rPr>
              <a:t>while loop, (a very powerful)  for loop. 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t can be used as a scripting language or can be compiled to byte-code for building large applications</a:t>
            </a:r>
            <a:r>
              <a:rPr lang="en-US" sz="1800" dirty="0" smtClean="0">
                <a:solidFill>
                  <a:schemeClr val="tx1"/>
                </a:solidFill>
              </a:rPr>
              <a:t>. (Using third party tools such as</a:t>
            </a:r>
            <a:r>
              <a:rPr lang="en-US" sz="1800" dirty="0">
                <a:solidFill>
                  <a:schemeClr val="tx1"/>
                </a:solidFill>
              </a:rPr>
              <a:t> </a:t>
            </a:r>
            <a:r>
              <a:rPr lang="en-US" sz="1800" dirty="0" smtClean="0">
                <a:solidFill>
                  <a:schemeClr val="tx1"/>
                </a:solidFill>
                <a:hlinkClick r:id="rId3" tooltip="Py2exe"/>
              </a:rPr>
              <a:t>Py2exe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smtClean="0">
                <a:solidFill>
                  <a:schemeClr val="tx1"/>
                </a:solidFill>
              </a:rPr>
              <a:t>or</a:t>
            </a:r>
            <a:r>
              <a:rPr lang="en-US" sz="1800" dirty="0">
                <a:solidFill>
                  <a:schemeClr val="tx1"/>
                </a:solidFill>
              </a:rPr>
              <a:t> </a:t>
            </a:r>
            <a:r>
              <a:rPr lang="en-US" sz="1800" dirty="0" smtClean="0">
                <a:solidFill>
                  <a:schemeClr val="tx1"/>
                </a:solidFill>
                <a:hlinkClick r:id="rId4" tooltip="Pyinstaller (page does not exist)"/>
              </a:rPr>
              <a:t>Pyinstaller</a:t>
            </a:r>
            <a:r>
              <a:rPr lang="en-US" sz="1800" dirty="0" smtClean="0">
                <a:solidFill>
                  <a:schemeClr val="tx1"/>
                </a:solidFill>
              </a:rPr>
              <a:t>,</a:t>
            </a:r>
            <a:r>
              <a:rPr lang="en-US" sz="1800" dirty="0">
                <a:solidFill>
                  <a:schemeClr val="tx1"/>
                </a:solidFill>
              </a:rPr>
              <a:t> Python code can be packaged into standalone executable </a:t>
            </a:r>
            <a:r>
              <a:rPr lang="en-US" sz="1800" dirty="0" smtClean="0">
                <a:solidFill>
                  <a:schemeClr val="tx1"/>
                </a:solidFill>
              </a:rPr>
              <a:t>programs)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Supports automatic garbage collection.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t can be easily integrated with Fortran, C, C++, CORBA, and Java, etc</a:t>
            </a:r>
            <a:r>
              <a:rPr lang="en-US" sz="1800" dirty="0" smtClean="0">
                <a:solidFill>
                  <a:schemeClr val="tx1"/>
                </a:solidFill>
              </a:rPr>
              <a:t>…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84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stalling Python and documen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Getting Python:</a:t>
            </a:r>
          </a:p>
          <a:p>
            <a:pPr lvl="1"/>
            <a:r>
              <a:rPr lang="en-US" sz="1800" dirty="0" smtClean="0">
                <a:solidFill>
                  <a:schemeClr val="tx1"/>
                </a:solidFill>
              </a:rPr>
              <a:t>The </a:t>
            </a:r>
            <a:r>
              <a:rPr lang="en-US" sz="1800" dirty="0">
                <a:solidFill>
                  <a:schemeClr val="tx1"/>
                </a:solidFill>
              </a:rPr>
              <a:t>most up-to-date and current source code, </a:t>
            </a:r>
            <a:r>
              <a:rPr lang="en-US" sz="1800" dirty="0" smtClean="0">
                <a:solidFill>
                  <a:schemeClr val="tx1"/>
                </a:solidFill>
              </a:rPr>
              <a:t>binaries, documentation</a:t>
            </a:r>
            <a:r>
              <a:rPr lang="en-US" sz="1800" dirty="0">
                <a:solidFill>
                  <a:schemeClr val="tx1"/>
                </a:solidFill>
              </a:rPr>
              <a:t>, news, etc. is available at the official website of </a:t>
            </a:r>
            <a:r>
              <a:rPr lang="en-US" sz="1800" dirty="0" smtClean="0">
                <a:solidFill>
                  <a:schemeClr val="tx1"/>
                </a:solidFill>
              </a:rPr>
              <a:t>Python: </a:t>
            </a:r>
            <a:r>
              <a:rPr lang="en-US" sz="1800" u="sng" dirty="0">
                <a:solidFill>
                  <a:schemeClr val="tx1"/>
                </a:solidFill>
                <a:hlinkClick r:id="rId3"/>
              </a:rPr>
              <a:t>http://www.python.org</a:t>
            </a:r>
            <a:r>
              <a:rPr lang="en-US" sz="1800" u="sng" dirty="0" smtClean="0">
                <a:solidFill>
                  <a:schemeClr val="tx1"/>
                </a:solidFill>
                <a:hlinkClick r:id="rId3"/>
              </a:rPr>
              <a:t>/</a:t>
            </a:r>
            <a:endParaRPr lang="en-US" sz="1800" u="sng" dirty="0" smtClean="0">
              <a:solidFill>
                <a:schemeClr val="tx1"/>
              </a:solidFill>
            </a:endParaRPr>
          </a:p>
          <a:p>
            <a:pPr lvl="1"/>
            <a:endParaRPr lang="en-US" sz="2000" u="sng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Documentation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You can download the Python documentation from the following site. The documentation is available in HTML, PDF, and PostScript formats: </a:t>
            </a:r>
            <a:r>
              <a:rPr lang="en-US" sz="1800" dirty="0">
                <a:solidFill>
                  <a:schemeClr val="tx1"/>
                </a:solidFill>
                <a:hlinkClick r:id="rId4"/>
              </a:rPr>
              <a:t>http://</a:t>
            </a:r>
            <a:r>
              <a:rPr lang="en-US" sz="1800" dirty="0" smtClean="0">
                <a:solidFill>
                  <a:schemeClr val="tx1"/>
                </a:solidFill>
                <a:hlinkClick r:id="rId4"/>
              </a:rPr>
              <a:t>docs.python.org/index.html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1"/>
            <a:endParaRPr lang="en-US" sz="200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Tutorial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You should definitely check out the tutorial on the Internet at: </a:t>
            </a:r>
            <a:r>
              <a:rPr lang="en-US" sz="1800" dirty="0">
                <a:solidFill>
                  <a:schemeClr val="tx1"/>
                </a:solidFill>
                <a:hlinkClick r:id="rId5"/>
              </a:rPr>
              <a:t>http://docs.python.org/tutorial/</a:t>
            </a:r>
            <a:r>
              <a:rPr lang="en-US" sz="1800" dirty="0">
                <a:solidFill>
                  <a:schemeClr val="tx1"/>
                </a:solidFill>
              </a:rPr>
              <a:t>.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54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c9b4150d-eabc-463f-9a80-02be7e9be184">Class book</Material_x0020_Type>
    <Category xmlns="c9b4150d-eabc-463f-9a80-02be7e9be184">Module Artifact</Category>
    <Level xmlns="c9b4150d-eabc-463f-9a80-02be7e9be184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30F35B74E2E64182F27C72993D6F74" ma:contentTypeVersion="3" ma:contentTypeDescription="Create a new document." ma:contentTypeScope="" ma:versionID="cd6af2743c57986432974764d2d63f85">
  <xsd:schema xmlns:xsd="http://www.w3.org/2001/XMLSchema" xmlns:xs="http://www.w3.org/2001/XMLSchema" xmlns:p="http://schemas.microsoft.com/office/2006/metadata/properties" xmlns:ns2="c9b4150d-eabc-463f-9a80-02be7e9be184" targetNamespace="http://schemas.microsoft.com/office/2006/metadata/properties" ma:root="true" ma:fieldsID="7067f547521bddc52bdeee3f1f567a20" ns2:_="">
    <xsd:import namespace="c9b4150d-eabc-463f-9a80-02be7e9be18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b4150d-eabc-463f-9a80-02be7e9be18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c9b4150d-eabc-463f-9a80-02be7e9be184"/>
  </ds:schemaRefs>
</ds:datastoreItem>
</file>

<file path=customXml/itemProps2.xml><?xml version="1.0" encoding="utf-8"?>
<ds:datastoreItem xmlns:ds="http://schemas.openxmlformats.org/officeDocument/2006/customXml" ds:itemID="{EDE71703-7F11-4A09-9BEB-FFE79CF421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b4150d-eabc-463f-9a80-02be7e9be1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7</TotalTime>
  <Words>2547</Words>
  <Application>Microsoft Office PowerPoint</Application>
  <PresentationFormat>On-screen Show (4:3)</PresentationFormat>
  <Paragraphs>578</Paragraphs>
  <Slides>38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0" baseType="lpstr">
      <vt:lpstr>Verdana</vt:lpstr>
      <vt:lpstr>Helvetica Light</vt:lpstr>
      <vt:lpstr>Candara</vt:lpstr>
      <vt:lpstr>Arial</vt:lpstr>
      <vt:lpstr>Wingdings</vt:lpstr>
      <vt:lpstr>Courier New</vt:lpstr>
      <vt:lpstr>Consolas</vt:lpstr>
      <vt:lpstr>Calibri</vt:lpstr>
      <vt:lpstr>1_Corporate Presentation Template (4x3 - Normal)</vt:lpstr>
      <vt:lpstr>3_Office Theme</vt:lpstr>
      <vt:lpstr>Capgemini 2017_Cover slides</vt:lpstr>
      <vt:lpstr>think-cell Slide</vt:lpstr>
      <vt:lpstr>Python Training </vt:lpstr>
      <vt:lpstr>Table of Contents</vt:lpstr>
      <vt:lpstr>Introduction to Python </vt:lpstr>
      <vt:lpstr>What is Python?</vt:lpstr>
      <vt:lpstr>Top programming languages</vt:lpstr>
      <vt:lpstr>Features of Python</vt:lpstr>
      <vt:lpstr>Features of Python</vt:lpstr>
      <vt:lpstr>Features of Python</vt:lpstr>
      <vt:lpstr>Installing Python and documentation</vt:lpstr>
      <vt:lpstr>Installing/Running Python IDE</vt:lpstr>
      <vt:lpstr>Language syntax </vt:lpstr>
      <vt:lpstr>Simple python code</vt:lpstr>
      <vt:lpstr>Variables</vt:lpstr>
      <vt:lpstr>Reserved words</vt:lpstr>
      <vt:lpstr>Basic Data Types</vt:lpstr>
      <vt:lpstr>Numbers</vt:lpstr>
      <vt:lpstr>Numbers: Operators</vt:lpstr>
      <vt:lpstr>Bitwise operators </vt:lpstr>
      <vt:lpstr>Numbers: Functions</vt:lpstr>
      <vt:lpstr>Boolean</vt:lpstr>
      <vt:lpstr>String</vt:lpstr>
      <vt:lpstr>String</vt:lpstr>
      <vt:lpstr>Data Structures </vt:lpstr>
      <vt:lpstr>List</vt:lpstr>
      <vt:lpstr>List</vt:lpstr>
      <vt:lpstr>Tuple</vt:lpstr>
      <vt:lpstr>Dictionary</vt:lpstr>
      <vt:lpstr>Dictionary</vt:lpstr>
      <vt:lpstr>Sets</vt:lpstr>
      <vt:lpstr>Data Type Conversion</vt:lpstr>
      <vt:lpstr>Assignment operator</vt:lpstr>
      <vt:lpstr>Reference Semantics</vt:lpstr>
      <vt:lpstr>Changing a Shared List</vt:lpstr>
      <vt:lpstr>Changing an integer</vt:lpstr>
      <vt:lpstr>Control Structures </vt:lpstr>
      <vt:lpstr>if.. elif.. else..</vt:lpstr>
      <vt:lpstr>Loops</vt:lpstr>
      <vt:lpstr>Loops…cont.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Gupta, Sameer</cp:lastModifiedBy>
  <cp:revision>149</cp:revision>
  <dcterms:created xsi:type="dcterms:W3CDTF">2012-05-18T02:59:15Z</dcterms:created>
  <dcterms:modified xsi:type="dcterms:W3CDTF">2018-05-31T11:5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2630F35B74E2E64182F27C72993D6F74</vt:lpwstr>
  </property>
  <property fmtid="{D5CDD505-2E9C-101B-9397-08002B2CF9AE}" pid="4" name="_SourceUrl">
    <vt:lpwstr/>
  </property>
</Properties>
</file>